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57" r:id="rId3"/>
    <p:sldId id="258" r:id="rId4"/>
    <p:sldId id="268" r:id="rId5"/>
    <p:sldId id="260" r:id="rId6"/>
    <p:sldId id="267" r:id="rId7"/>
    <p:sldId id="271" r:id="rId8"/>
    <p:sldId id="272" r:id="rId9"/>
    <p:sldId id="273" r:id="rId10"/>
    <p:sldId id="274" r:id="rId11"/>
    <p:sldId id="275" r:id="rId12"/>
    <p:sldId id="276" r:id="rId13"/>
    <p:sldId id="277" r:id="rId14"/>
    <p:sldId id="278" r:id="rId15"/>
    <p:sldId id="279" r:id="rId16"/>
    <p:sldId id="280" r:id="rId17"/>
    <p:sldId id="281" r:id="rId18"/>
    <p:sldId id="282" r:id="rId19"/>
    <p:sldId id="283" r:id="rId20"/>
    <p:sldId id="284" r:id="rId21"/>
    <p:sldId id="270" r:id="rId22"/>
  </p:sldIdLst>
  <p:sldSz cx="9144000" cy="5143500" type="screen16x9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D6EA"/>
    <a:srgbClr val="278095"/>
    <a:srgbClr val="20B3D2"/>
    <a:srgbClr val="FF0000"/>
    <a:srgbClr val="3BC5E1"/>
    <a:srgbClr val="20B3C9"/>
    <a:srgbClr val="2F9AB3"/>
    <a:srgbClr val="31A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121" d="100"/>
          <a:sy n="121" d="100"/>
        </p:scale>
        <p:origin x="504" y="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-383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20B3D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233-44A7-8901-8DEEA3EF37E3}"/>
              </c:ext>
            </c:extLst>
          </c:dPt>
          <c:dPt>
            <c:idx val="1"/>
            <c:bubble3D val="0"/>
            <c:spPr>
              <a:solidFill>
                <a:srgbClr val="278095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233-44A7-8901-8DEEA3EF37E3}"/>
              </c:ext>
            </c:extLst>
          </c:dPt>
          <c:dPt>
            <c:idx val="2"/>
            <c:bubble3D val="0"/>
            <c:spPr>
              <a:solidFill>
                <a:srgbClr val="72D6EA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233-44A7-8901-8DEEA3EF37E3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4233-44A7-8901-8DEEA3EF37E3}"/>
              </c:ext>
            </c:extLst>
          </c:dPt>
          <c:cat>
            <c:strRef>
              <c:f>Sheet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233-44A7-8901-8DEEA3EF37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txPr>
        <a:bodyPr rot="0" spcFirstLastPara="0" vertOverflow="ellipsis" vert="horz" wrap="square" anchor="ctr" anchorCtr="1"/>
        <a:lstStyle/>
        <a:p>
          <a:pPr>
            <a:defRPr lang="zh-CN"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zh-CN" sz="1400">
          <a:solidFill>
            <a:schemeClr val="tx1"/>
          </a:solidFill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278095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5C-40C7-8B9C-FF8147B85D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rgbClr val="FF0000">
                <a:alpha val="70000"/>
              </a:srgb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5C-40C7-8B9C-FF8147B85DE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rgbClr val="20B3D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5C-40C7-8B9C-FF8147B85D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20844768"/>
        <c:axId val="1720846400"/>
      </c:barChart>
      <c:catAx>
        <c:axId val="17208447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20846400"/>
        <c:crosses val="autoZero"/>
        <c:auto val="1"/>
        <c:lblAlgn val="ctr"/>
        <c:lblOffset val="100"/>
        <c:noMultiLvlLbl val="0"/>
      </c:catAx>
      <c:valAx>
        <c:axId val="1720846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  <a:alpha val="40000"/>
                </a:schemeClr>
              </a:solidFill>
              <a:prstDash val="solid"/>
              <a:round/>
            </a:ln>
          </c:spPr>
        </c:majorGridlines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7208447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zh-CN" sz="1400">
          <a:solidFill>
            <a:schemeClr val="tx1"/>
          </a:solidFill>
        </a:defRPr>
      </a:pPr>
      <a:endParaRPr lang="zh-CN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85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FD3D57-F3BB-4E5E-B091-1500A3C92E81}" type="doc">
      <dgm:prSet loTypeId="urn:microsoft.com/office/officeart/2005/8/layout/pyramid1#2" loCatId="pyramid" qsTypeId="urn:microsoft.com/office/officeart/2005/8/quickstyle/simple1#145" qsCatId="simple" csTypeId="urn:microsoft.com/office/officeart/2005/8/colors/accent1_2#85" csCatId="accent1" phldr="1"/>
      <dgm:spPr/>
    </dgm:pt>
    <dgm:pt modelId="{E924DC90-2427-4BE5-A522-6ACD4563EB45}">
      <dgm:prSet phldrT="[Text]" custT="1"/>
      <dgm:spPr>
        <a:xfrm>
          <a:off x="1526649" y="0"/>
          <a:ext cx="1061501" cy="805955"/>
        </a:xfrm>
        <a:solidFill>
          <a:srgbClr val="FF0000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9E545862-1292-4DB6-B36C-D6247532E625}" type="parTrans" cxnId="{685D1073-2D3C-412E-A123-0EF4D596743E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BD5A33EB-119A-4BA7-8787-7DF55D1248BC}" type="sibTrans" cxnId="{685D1073-2D3C-412E-A123-0EF4D596743E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9D67B1F7-C4FF-4E1E-94F4-69209A4E7C47}">
      <dgm:prSet phldrT="[Text]" custT="1"/>
      <dgm:spPr>
        <a:xfrm>
          <a:off x="763324" y="1385516"/>
          <a:ext cx="2588150" cy="579561"/>
        </a:xfrm>
        <a:solidFill>
          <a:srgbClr val="278095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BD4D3042-AB5C-4E8F-B8BE-BC3A20988EB3}" type="parTrans" cxnId="{1263D722-8372-4789-B9F5-BFD8D9C870F1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B379D14A-425C-47B8-B779-1E5D839E4BC8}" type="sibTrans" cxnId="{1263D722-8372-4789-B9F5-BFD8D9C870F1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53563D61-A301-4644-8AE7-FCAFDA9A58AB}">
      <dgm:prSet phldrT="[Text]" custT="1"/>
      <dgm:spPr>
        <a:xfrm>
          <a:off x="381662" y="1965077"/>
          <a:ext cx="3351475" cy="579561"/>
        </a:xfrm>
        <a:solidFill>
          <a:srgbClr val="20B3D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B60323EE-B859-4184-88BB-62221AE106AB}" type="parTrans" cxnId="{F3697A49-7026-40CE-A2B9-71761A0223E3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426A8813-506E-429E-87DB-53AA3F5535D1}" type="sibTrans" cxnId="{F3697A49-7026-40CE-A2B9-71761A0223E3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9BC44171-365F-452D-AE92-EBE2E89770BA}">
      <dgm:prSet phldrT="[Text]" custT="1"/>
      <dgm:spPr>
        <a:xfrm>
          <a:off x="0" y="2544638"/>
          <a:ext cx="4114799" cy="579561"/>
        </a:xfrm>
        <a:solidFill>
          <a:srgbClr val="72D6EA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7679D3FA-0101-42D1-A23D-75BD8EF1DA28}" type="parTrans" cxnId="{15D8F364-6809-49BA-A228-EAE95F4BE6B9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FF5F2014-EE5D-4FD1-9103-39F792365AE5}" type="sibTrans" cxnId="{15D8F364-6809-49BA-A228-EAE95F4BE6B9}">
      <dgm:prSet/>
      <dgm:spPr/>
      <dgm:t>
        <a:bodyPr/>
        <a:lstStyle/>
        <a:p>
          <a:endParaRPr lang="en-US" sz="1600">
            <a:solidFill>
              <a:schemeClr val="bg1"/>
            </a:solidFill>
          </a:endParaRPr>
        </a:p>
      </dgm:t>
    </dgm:pt>
    <dgm:pt modelId="{6346E340-6B27-47A2-93A8-AA7F0249167F}" type="pres">
      <dgm:prSet presAssocID="{28FD3D57-F3BB-4E5E-B091-1500A3C92E81}" presName="Name0" presStyleCnt="0">
        <dgm:presLayoutVars>
          <dgm:dir/>
          <dgm:animLvl val="lvl"/>
          <dgm:resizeHandles val="exact"/>
        </dgm:presLayoutVars>
      </dgm:prSet>
      <dgm:spPr/>
    </dgm:pt>
    <dgm:pt modelId="{8351BCDF-D287-464A-AB10-4261CFFC4E79}" type="pres">
      <dgm:prSet presAssocID="{E924DC90-2427-4BE5-A522-6ACD4563EB45}" presName="Name8" presStyleCnt="0"/>
      <dgm:spPr/>
    </dgm:pt>
    <dgm:pt modelId="{864F954D-81D4-4546-B08E-448FBA7A18FE}" type="pres">
      <dgm:prSet presAssocID="{E924DC90-2427-4BE5-A522-6ACD4563EB45}" presName="level" presStyleLbl="node1" presStyleIdx="0" presStyleCnt="4" custScaleY="139063">
        <dgm:presLayoutVars>
          <dgm:chMax val="1"/>
          <dgm:bulletEnabled val="1"/>
        </dgm:presLayoutVars>
      </dgm:prSet>
      <dgm:spPr>
        <a:prstGeom prst="trapezoid">
          <a:avLst>
            <a:gd name="adj" fmla="val 65853"/>
          </a:avLst>
        </a:prstGeom>
      </dgm:spPr>
      <dgm:t>
        <a:bodyPr/>
        <a:lstStyle/>
        <a:p>
          <a:endParaRPr lang="en-US"/>
        </a:p>
      </dgm:t>
    </dgm:pt>
    <dgm:pt modelId="{A8AE7F33-3372-4D78-96A6-FD2B204E9D9D}" type="pres">
      <dgm:prSet presAssocID="{E924DC90-2427-4BE5-A522-6ACD4563EB4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7100C5-692A-476D-9242-E6DE2BFA407E}" type="pres">
      <dgm:prSet presAssocID="{9D67B1F7-C4FF-4E1E-94F4-69209A4E7C47}" presName="Name8" presStyleCnt="0"/>
      <dgm:spPr/>
    </dgm:pt>
    <dgm:pt modelId="{753AA43A-5097-42D8-A3EF-20B11215D8F3}" type="pres">
      <dgm:prSet presAssocID="{9D67B1F7-C4FF-4E1E-94F4-69209A4E7C47}" presName="level" presStyleLbl="node1" presStyleIdx="1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3"/>
          </a:avLst>
        </a:prstGeom>
      </dgm:spPr>
      <dgm:t>
        <a:bodyPr/>
        <a:lstStyle/>
        <a:p>
          <a:endParaRPr lang="en-US"/>
        </a:p>
      </dgm:t>
    </dgm:pt>
    <dgm:pt modelId="{7E617F38-6BB2-4E03-8198-FF7E7F898924}" type="pres">
      <dgm:prSet presAssocID="{9D67B1F7-C4FF-4E1E-94F4-69209A4E7C4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C42FD2-6503-4F77-8487-9B33E0527141}" type="pres">
      <dgm:prSet presAssocID="{53563D61-A301-4644-8AE7-FCAFDA9A58AB}" presName="Name8" presStyleCnt="0"/>
      <dgm:spPr/>
    </dgm:pt>
    <dgm:pt modelId="{E6279944-4AC5-4561-B5D0-64EE0E57E695}" type="pres">
      <dgm:prSet presAssocID="{53563D61-A301-4644-8AE7-FCAFDA9A58AB}" presName="level" presStyleLbl="node1" presStyleIdx="2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3"/>
          </a:avLst>
        </a:prstGeom>
      </dgm:spPr>
      <dgm:t>
        <a:bodyPr/>
        <a:lstStyle/>
        <a:p>
          <a:endParaRPr lang="en-US"/>
        </a:p>
      </dgm:t>
    </dgm:pt>
    <dgm:pt modelId="{2E9D1362-172A-4369-8415-6E089FA67356}" type="pres">
      <dgm:prSet presAssocID="{53563D61-A301-4644-8AE7-FCAFDA9A58A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5855A1-EC9E-41EF-AA5C-B0A6C62BC58F}" type="pres">
      <dgm:prSet presAssocID="{9BC44171-365F-452D-AE92-EBE2E89770BA}" presName="Name8" presStyleCnt="0"/>
      <dgm:spPr/>
    </dgm:pt>
    <dgm:pt modelId="{285279A8-A2FF-4704-92DF-4753853CE322}" type="pres">
      <dgm:prSet presAssocID="{9BC44171-365F-452D-AE92-EBE2E89770BA}" presName="level" presStyleLbl="node1" presStyleIdx="3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3"/>
          </a:avLst>
        </a:prstGeom>
      </dgm:spPr>
      <dgm:t>
        <a:bodyPr/>
        <a:lstStyle/>
        <a:p>
          <a:endParaRPr lang="en-US"/>
        </a:p>
      </dgm:t>
    </dgm:pt>
    <dgm:pt modelId="{48B1057C-5EDF-4EC8-9A6B-B059EB7B0F8E}" type="pres">
      <dgm:prSet presAssocID="{9BC44171-365F-452D-AE92-EBE2E89770B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0F0381-697D-43A2-8BE4-435394352E42}" type="presOf" srcId="{9BC44171-365F-452D-AE92-EBE2E89770BA}" destId="{48B1057C-5EDF-4EC8-9A6B-B059EB7B0F8E}" srcOrd="1" destOrd="0" presId="urn:microsoft.com/office/officeart/2005/8/layout/pyramid1#2"/>
    <dgm:cxn modelId="{685D1073-2D3C-412E-A123-0EF4D596743E}" srcId="{28FD3D57-F3BB-4E5E-B091-1500A3C92E81}" destId="{E924DC90-2427-4BE5-A522-6ACD4563EB45}" srcOrd="0" destOrd="0" parTransId="{9E545862-1292-4DB6-B36C-D6247532E625}" sibTransId="{BD5A33EB-119A-4BA7-8787-7DF55D1248BC}"/>
    <dgm:cxn modelId="{3320A4F3-240C-434E-887F-F44B2E8C81C9}" type="presOf" srcId="{E924DC90-2427-4BE5-A522-6ACD4563EB45}" destId="{A8AE7F33-3372-4D78-96A6-FD2B204E9D9D}" srcOrd="1" destOrd="0" presId="urn:microsoft.com/office/officeart/2005/8/layout/pyramid1#2"/>
    <dgm:cxn modelId="{94C5907A-74F0-4FEB-BFE7-142A6575F7D0}" type="presOf" srcId="{53563D61-A301-4644-8AE7-FCAFDA9A58AB}" destId="{E6279944-4AC5-4561-B5D0-64EE0E57E695}" srcOrd="0" destOrd="0" presId="urn:microsoft.com/office/officeart/2005/8/layout/pyramid1#2"/>
    <dgm:cxn modelId="{738D0FA3-9B25-433B-B240-E4ADF4E62A5F}" type="presOf" srcId="{28FD3D57-F3BB-4E5E-B091-1500A3C92E81}" destId="{6346E340-6B27-47A2-93A8-AA7F0249167F}" srcOrd="0" destOrd="0" presId="urn:microsoft.com/office/officeart/2005/8/layout/pyramid1#2"/>
    <dgm:cxn modelId="{65C47EB5-01F0-4512-A6C0-F1273A1CE3CB}" type="presOf" srcId="{9D67B1F7-C4FF-4E1E-94F4-69209A4E7C47}" destId="{753AA43A-5097-42D8-A3EF-20B11215D8F3}" srcOrd="0" destOrd="0" presId="urn:microsoft.com/office/officeart/2005/8/layout/pyramid1#2"/>
    <dgm:cxn modelId="{FDD8563A-8E79-405B-AD1F-0000BEE0F88C}" type="presOf" srcId="{9D67B1F7-C4FF-4E1E-94F4-69209A4E7C47}" destId="{7E617F38-6BB2-4E03-8198-FF7E7F898924}" srcOrd="1" destOrd="0" presId="urn:microsoft.com/office/officeart/2005/8/layout/pyramid1#2"/>
    <dgm:cxn modelId="{F3697A49-7026-40CE-A2B9-71761A0223E3}" srcId="{28FD3D57-F3BB-4E5E-B091-1500A3C92E81}" destId="{53563D61-A301-4644-8AE7-FCAFDA9A58AB}" srcOrd="2" destOrd="0" parTransId="{B60323EE-B859-4184-88BB-62221AE106AB}" sibTransId="{426A8813-506E-429E-87DB-53AA3F5535D1}"/>
    <dgm:cxn modelId="{3AD3BAC3-D1B6-4948-8DCC-6270289D414A}" type="presOf" srcId="{E924DC90-2427-4BE5-A522-6ACD4563EB45}" destId="{864F954D-81D4-4546-B08E-448FBA7A18FE}" srcOrd="0" destOrd="0" presId="urn:microsoft.com/office/officeart/2005/8/layout/pyramid1#2"/>
    <dgm:cxn modelId="{D176470E-8A90-4B36-828C-412877FFF00D}" type="presOf" srcId="{53563D61-A301-4644-8AE7-FCAFDA9A58AB}" destId="{2E9D1362-172A-4369-8415-6E089FA67356}" srcOrd="1" destOrd="0" presId="urn:microsoft.com/office/officeart/2005/8/layout/pyramid1#2"/>
    <dgm:cxn modelId="{1263D722-8372-4789-B9F5-BFD8D9C870F1}" srcId="{28FD3D57-F3BB-4E5E-B091-1500A3C92E81}" destId="{9D67B1F7-C4FF-4E1E-94F4-69209A4E7C47}" srcOrd="1" destOrd="0" parTransId="{BD4D3042-AB5C-4E8F-B8BE-BC3A20988EB3}" sibTransId="{B379D14A-425C-47B8-B779-1E5D839E4BC8}"/>
    <dgm:cxn modelId="{15D8F364-6809-49BA-A228-EAE95F4BE6B9}" srcId="{28FD3D57-F3BB-4E5E-B091-1500A3C92E81}" destId="{9BC44171-365F-452D-AE92-EBE2E89770BA}" srcOrd="3" destOrd="0" parTransId="{7679D3FA-0101-42D1-A23D-75BD8EF1DA28}" sibTransId="{FF5F2014-EE5D-4FD1-9103-39F792365AE5}"/>
    <dgm:cxn modelId="{F8A8E575-1E5C-4E33-BCD7-5E320261FAEA}" type="presOf" srcId="{9BC44171-365F-452D-AE92-EBE2E89770BA}" destId="{285279A8-A2FF-4704-92DF-4753853CE322}" srcOrd="0" destOrd="0" presId="urn:microsoft.com/office/officeart/2005/8/layout/pyramid1#2"/>
    <dgm:cxn modelId="{0AC56611-DD35-4DF6-B54D-6AF3618E9CB2}" type="presParOf" srcId="{6346E340-6B27-47A2-93A8-AA7F0249167F}" destId="{8351BCDF-D287-464A-AB10-4261CFFC4E79}" srcOrd="0" destOrd="0" presId="urn:microsoft.com/office/officeart/2005/8/layout/pyramid1#2"/>
    <dgm:cxn modelId="{F40CE796-049D-423F-8603-DF96E81D9D9C}" type="presParOf" srcId="{8351BCDF-D287-464A-AB10-4261CFFC4E79}" destId="{864F954D-81D4-4546-B08E-448FBA7A18FE}" srcOrd="0" destOrd="0" presId="urn:microsoft.com/office/officeart/2005/8/layout/pyramid1#2"/>
    <dgm:cxn modelId="{9105A472-8E15-4CF7-BE6E-F45AC9A4D624}" type="presParOf" srcId="{8351BCDF-D287-464A-AB10-4261CFFC4E79}" destId="{A8AE7F33-3372-4D78-96A6-FD2B204E9D9D}" srcOrd="1" destOrd="0" presId="urn:microsoft.com/office/officeart/2005/8/layout/pyramid1#2"/>
    <dgm:cxn modelId="{354707A3-A23C-4526-9234-72F8DDA2635D}" type="presParOf" srcId="{6346E340-6B27-47A2-93A8-AA7F0249167F}" destId="{BF7100C5-692A-476D-9242-E6DE2BFA407E}" srcOrd="1" destOrd="0" presId="urn:microsoft.com/office/officeart/2005/8/layout/pyramid1#2"/>
    <dgm:cxn modelId="{BF613CF0-DA4C-421D-A5B0-25E77F9FCE7F}" type="presParOf" srcId="{BF7100C5-692A-476D-9242-E6DE2BFA407E}" destId="{753AA43A-5097-42D8-A3EF-20B11215D8F3}" srcOrd="0" destOrd="0" presId="urn:microsoft.com/office/officeart/2005/8/layout/pyramid1#2"/>
    <dgm:cxn modelId="{EB0A6BE6-863A-4A02-AA95-F164CA0779CB}" type="presParOf" srcId="{BF7100C5-692A-476D-9242-E6DE2BFA407E}" destId="{7E617F38-6BB2-4E03-8198-FF7E7F898924}" srcOrd="1" destOrd="0" presId="urn:microsoft.com/office/officeart/2005/8/layout/pyramid1#2"/>
    <dgm:cxn modelId="{1B2D94A5-71F1-4B53-8E1E-76474CE20094}" type="presParOf" srcId="{6346E340-6B27-47A2-93A8-AA7F0249167F}" destId="{29C42FD2-6503-4F77-8487-9B33E0527141}" srcOrd="2" destOrd="0" presId="urn:microsoft.com/office/officeart/2005/8/layout/pyramid1#2"/>
    <dgm:cxn modelId="{9F7F0F25-4141-4025-BA1F-E10FE16383A3}" type="presParOf" srcId="{29C42FD2-6503-4F77-8487-9B33E0527141}" destId="{E6279944-4AC5-4561-B5D0-64EE0E57E695}" srcOrd="0" destOrd="0" presId="urn:microsoft.com/office/officeart/2005/8/layout/pyramid1#2"/>
    <dgm:cxn modelId="{6049C067-24EE-41DB-9924-9DDE69CA98E7}" type="presParOf" srcId="{29C42FD2-6503-4F77-8487-9B33E0527141}" destId="{2E9D1362-172A-4369-8415-6E089FA67356}" srcOrd="1" destOrd="0" presId="urn:microsoft.com/office/officeart/2005/8/layout/pyramid1#2"/>
    <dgm:cxn modelId="{B7F198A5-5978-4C3B-9A7B-9DFE349F1208}" type="presParOf" srcId="{6346E340-6B27-47A2-93A8-AA7F0249167F}" destId="{E55855A1-EC9E-41EF-AA5C-B0A6C62BC58F}" srcOrd="3" destOrd="0" presId="urn:microsoft.com/office/officeart/2005/8/layout/pyramid1#2"/>
    <dgm:cxn modelId="{26DF7639-673C-4C82-ADB4-EDA08521844A}" type="presParOf" srcId="{E55855A1-EC9E-41EF-AA5C-B0A6C62BC58F}" destId="{285279A8-A2FF-4704-92DF-4753853CE322}" srcOrd="0" destOrd="0" presId="urn:microsoft.com/office/officeart/2005/8/layout/pyramid1#2"/>
    <dgm:cxn modelId="{D8904DD8-0742-4BD3-B7C7-84A6FB776F94}" type="presParOf" srcId="{E55855A1-EC9E-41EF-AA5C-B0A6C62BC58F}" destId="{48B1057C-5EDF-4EC8-9A6B-B059EB7B0F8E}" srcOrd="1" destOrd="0" presId="urn:microsoft.com/office/officeart/2005/8/layout/pyramid1#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4F954D-81D4-4546-B08E-448FBA7A18FE}">
      <dsp:nvSpPr>
        <dsp:cNvPr id="0" name=""/>
        <dsp:cNvSpPr/>
      </dsp:nvSpPr>
      <dsp:spPr bwMode="white">
        <a:xfrm>
          <a:off x="1054325" y="0"/>
          <a:ext cx="977450" cy="742138"/>
        </a:xfrm>
        <a:prstGeom prst="trapezoid">
          <a:avLst>
            <a:gd name="adj" fmla="val 65853"/>
          </a:avLst>
        </a:prstGeom>
        <a:solidFill>
          <a:srgbClr val="FF0000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054325" y="0"/>
        <a:ext cx="977450" cy="742138"/>
      </dsp:txXfrm>
    </dsp:sp>
    <dsp:sp modelId="{753AA43A-5097-42D8-A3EF-20B11215D8F3}">
      <dsp:nvSpPr>
        <dsp:cNvPr id="0" name=""/>
        <dsp:cNvSpPr/>
      </dsp:nvSpPr>
      <dsp:spPr bwMode="white">
        <a:xfrm>
          <a:off x="702883" y="742138"/>
          <a:ext cx="1680334" cy="533671"/>
        </a:xfrm>
        <a:prstGeom prst="trapezoid">
          <a:avLst>
            <a:gd name="adj" fmla="val 65853"/>
          </a:avLst>
        </a:prstGeom>
        <a:solidFill>
          <a:srgbClr val="278095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702883" y="742138"/>
        <a:ext cx="1680334" cy="533671"/>
      </dsp:txXfrm>
    </dsp:sp>
    <dsp:sp modelId="{E6279944-4AC5-4561-B5D0-64EE0E57E695}">
      <dsp:nvSpPr>
        <dsp:cNvPr id="0" name=""/>
        <dsp:cNvSpPr/>
      </dsp:nvSpPr>
      <dsp:spPr bwMode="white">
        <a:xfrm>
          <a:off x="351442" y="1275809"/>
          <a:ext cx="2383217" cy="533671"/>
        </a:xfrm>
        <a:prstGeom prst="trapezoid">
          <a:avLst>
            <a:gd name="adj" fmla="val 65853"/>
          </a:avLst>
        </a:prstGeom>
        <a:solidFill>
          <a:srgbClr val="20B3D2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351442" y="1275809"/>
        <a:ext cx="2383217" cy="533671"/>
      </dsp:txXfrm>
    </dsp:sp>
    <dsp:sp modelId="{285279A8-A2FF-4704-92DF-4753853CE322}">
      <dsp:nvSpPr>
        <dsp:cNvPr id="0" name=""/>
        <dsp:cNvSpPr/>
      </dsp:nvSpPr>
      <dsp:spPr bwMode="white">
        <a:xfrm>
          <a:off x="0" y="1809479"/>
          <a:ext cx="3086100" cy="533671"/>
        </a:xfrm>
        <a:prstGeom prst="trapezoid">
          <a:avLst>
            <a:gd name="adj" fmla="val 65853"/>
          </a:avLst>
        </a:prstGeom>
        <a:solidFill>
          <a:srgbClr val="72D6EA"/>
        </a:solidFill>
        <a:ln w="25400" cap="flat" cmpd="sng" algn="ctr">
          <a:solidFill>
            <a:sysClr val="window" lastClr="FFFFFF">
              <a:lumMod val="95000"/>
            </a:sysClr>
          </a:solidFill>
          <a:prstDash val="solid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kern="1200" dirty="0" smtClean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添加文本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0" y="1809479"/>
        <a:ext cx="3086100" cy="5336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#2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aft"/>
          <dgm:param type="pyraAcctTxMar" val="step"/>
        </dgm:alg>
      </dgm:if>
      <dgm:else name="Name3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bef"/>
          <dgm:param type="pyraAcctTxMar" val="step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45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BC00FA-E706-4FE0-B7E8-C5212BA716AF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C56A0A-70E9-4F3B-8DC3-CA9E1D2186F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85DAE0-DB9C-41FF-8E27-825215739601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1C8F6-6493-430C-A001-C855DEB6A94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加号 8"/>
          <p:cNvSpPr/>
          <p:nvPr userDrawn="1"/>
        </p:nvSpPr>
        <p:spPr>
          <a:xfrm>
            <a:off x="251520" y="148377"/>
            <a:ext cx="1080120" cy="1080120"/>
          </a:xfrm>
          <a:prstGeom prst="mathPlus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加号 9"/>
          <p:cNvSpPr/>
          <p:nvPr userDrawn="1"/>
        </p:nvSpPr>
        <p:spPr>
          <a:xfrm>
            <a:off x="992340" y="879562"/>
            <a:ext cx="612068" cy="612068"/>
          </a:xfrm>
          <a:prstGeom prst="mathPlus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0" y="4659982"/>
            <a:ext cx="9144000" cy="504056"/>
          </a:xfrm>
          <a:prstGeom prst="rect">
            <a:avLst/>
          </a:prstGeom>
          <a:gradFill flip="none" rotWithShape="1">
            <a:gsLst>
              <a:gs pos="0">
                <a:srgbClr val="31A1BD"/>
              </a:gs>
              <a:gs pos="100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screen"/>
          <a:stretch>
            <a:fillRect/>
          </a:stretch>
        </p:blipFill>
        <p:spPr bwMode="auto">
          <a:xfrm>
            <a:off x="7481755" y="3435847"/>
            <a:ext cx="1678117" cy="191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矩形 7"/>
          <p:cNvSpPr/>
          <p:nvPr userDrawn="1"/>
        </p:nvSpPr>
        <p:spPr>
          <a:xfrm>
            <a:off x="467544" y="581816"/>
            <a:ext cx="2736304" cy="45719"/>
          </a:xfrm>
          <a:prstGeom prst="rect">
            <a:avLst/>
          </a:prstGeom>
          <a:gradFill flip="none" rotWithShape="1">
            <a:gsLst>
              <a:gs pos="0">
                <a:srgbClr val="31A1BD"/>
              </a:gs>
              <a:gs pos="100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7544" y="93425"/>
            <a:ext cx="4248472" cy="461665"/>
          </a:xfrm>
          <a:noFill/>
        </p:spPr>
        <p:txBody>
          <a:bodyPr wrap="square" rtlCol="0">
            <a:spAutoFit/>
          </a:bodyPr>
          <a:lstStyle>
            <a:lvl1pPr algn="l">
              <a:defRPr lang="zh-CN" altLang="en-US" sz="2400" b="1">
                <a:latin typeface="+mn-lt"/>
                <a:ea typeface="+mn-ea"/>
                <a:cs typeface="+mn-cs"/>
              </a:defRPr>
            </a:lvl1pPr>
          </a:lstStyle>
          <a:p>
            <a:pPr marL="0" lvl="0" algn="l"/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>
          <a:blip r:embed="rId3" cstate="screen"/>
          <a:stretch>
            <a:fillRect/>
          </a:stretch>
        </p:blipFill>
        <p:spPr bwMode="auto">
          <a:xfrm>
            <a:off x="7164881" y="190114"/>
            <a:ext cx="1726141" cy="36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9144000" cy="51640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  <a:gs pos="43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jd\Desktop\5121003_102515330101_2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0" y="-13596"/>
            <a:ext cx="9144000" cy="3881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/>
          <p:cNvSpPr/>
          <p:nvPr/>
        </p:nvSpPr>
        <p:spPr>
          <a:xfrm>
            <a:off x="0" y="3540422"/>
            <a:ext cx="9144000" cy="1623617"/>
          </a:xfrm>
          <a:prstGeom prst="rect">
            <a:avLst/>
          </a:prstGeom>
          <a:gradFill flip="none" rotWithShape="1">
            <a:gsLst>
              <a:gs pos="33000">
                <a:srgbClr val="2F9AB3"/>
              </a:gs>
              <a:gs pos="66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加号 5"/>
          <p:cNvSpPr/>
          <p:nvPr/>
        </p:nvSpPr>
        <p:spPr>
          <a:xfrm>
            <a:off x="251520" y="148377"/>
            <a:ext cx="1080120" cy="1080120"/>
          </a:xfrm>
          <a:prstGeom prst="mathPlus">
            <a:avLst/>
          </a:prstGeom>
          <a:noFill/>
          <a:ln>
            <a:solidFill>
              <a:srgbClr val="FF0000">
                <a:alpha val="39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加号 16"/>
          <p:cNvSpPr/>
          <p:nvPr/>
        </p:nvSpPr>
        <p:spPr>
          <a:xfrm>
            <a:off x="992340" y="879562"/>
            <a:ext cx="612068" cy="612068"/>
          </a:xfrm>
          <a:prstGeom prst="mathPlus">
            <a:avLst/>
          </a:prstGeom>
          <a:noFill/>
          <a:ln>
            <a:solidFill>
              <a:srgbClr val="FF0000">
                <a:alpha val="39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2483768" y="1131590"/>
            <a:ext cx="3240360" cy="400110"/>
          </a:xfrm>
          <a:prstGeom prst="rect">
            <a:avLst/>
          </a:prstGeom>
          <a:solidFill>
            <a:schemeClr val="tx1">
              <a:alpha val="46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ln>
                  <a:solidFill>
                    <a:schemeClr val="bg1"/>
                  </a:solidFill>
                </a:ln>
              </a:rPr>
              <a:t>     </a:t>
            </a:r>
            <a:r>
              <a:rPr lang="en-US" altLang="zh-CN" sz="2000" b="1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XX</a:t>
            </a:r>
            <a:r>
              <a:rPr lang="zh-CN" altLang="en-US" sz="2000" b="1" dirty="0" smtClean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省某某人民医院</a:t>
            </a:r>
            <a:endParaRPr lang="zh-CN" altLang="en-US" sz="2000" b="1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91580" y="1635647"/>
            <a:ext cx="6012668" cy="646331"/>
          </a:xfrm>
          <a:prstGeom prst="rect">
            <a:avLst/>
          </a:prstGeom>
          <a:solidFill>
            <a:schemeClr val="tx1">
              <a:alpha val="46000"/>
            </a:schemeClr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 Unicode MS" pitchFamily="34" charset="-122"/>
              </a:rPr>
              <a:t>大学生心理健康教育</a:t>
            </a:r>
            <a:r>
              <a:rPr lang="en-US" altLang="zh-CN" sz="3600" b="1" dirty="0" err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 Unicode MS" pitchFamily="34" charset="-122"/>
              </a:rPr>
              <a:t>ppt</a:t>
            </a:r>
            <a:r>
              <a:rPr lang="zh-CN" altLang="en-US" sz="36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 Unicode MS" pitchFamily="34" charset="-122"/>
              </a:rPr>
              <a:t>模板</a:t>
            </a:r>
          </a:p>
        </p:txBody>
      </p:sp>
      <p:grpSp>
        <p:nvGrpSpPr>
          <p:cNvPr id="21" name="组合 20"/>
          <p:cNvGrpSpPr/>
          <p:nvPr/>
        </p:nvGrpSpPr>
        <p:grpSpPr>
          <a:xfrm>
            <a:off x="1335848" y="4026760"/>
            <a:ext cx="3020128" cy="633223"/>
            <a:chOff x="1335848" y="3835705"/>
            <a:chExt cx="3020128" cy="633223"/>
          </a:xfrm>
        </p:grpSpPr>
        <p:pic>
          <p:nvPicPr>
            <p:cNvPr id="1028" name="Picture 4" descr="C:\Users\md\Desktop\未命名 -1.png"/>
            <p:cNvPicPr>
              <a:picLocks noChangeAspect="1" noChangeArrowheads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 bwMode="auto">
            <a:xfrm>
              <a:off x="1335848" y="3835705"/>
              <a:ext cx="631917" cy="633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矩形 17"/>
            <p:cNvSpPr/>
            <p:nvPr/>
          </p:nvSpPr>
          <p:spPr>
            <a:xfrm>
              <a:off x="1920955" y="3875318"/>
              <a:ext cx="243502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 cstate="screen"/>
          <a:stretch>
            <a:fillRect/>
          </a:stretch>
        </p:blipFill>
        <p:spPr bwMode="auto">
          <a:xfrm>
            <a:off x="4539195" y="339502"/>
            <a:ext cx="4604807" cy="526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矩形 2"/>
          <p:cNvSpPr/>
          <p:nvPr/>
        </p:nvSpPr>
        <p:spPr>
          <a:xfrm>
            <a:off x="1920956" y="2320474"/>
            <a:ext cx="4068793" cy="369332"/>
          </a:xfrm>
          <a:prstGeom prst="rect">
            <a:avLst/>
          </a:prstGeom>
          <a:solidFill>
            <a:schemeClr val="tx1">
              <a:alpha val="46000"/>
            </a:schemeClr>
          </a:solidFill>
        </p:spPr>
        <p:txBody>
          <a:bodyPr wrap="square">
            <a:spAutoFit/>
          </a:bodyPr>
          <a:lstStyle/>
          <a:p>
            <a:endParaRPr lang="zh-CN" altLang="en-US" dirty="0">
              <a:solidFill>
                <a:schemeClr val="bg1"/>
              </a:solidFill>
              <a:latin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289">
        <p:fade/>
      </p:transition>
    </mc:Choice>
    <mc:Fallback xmlns="">
      <p:transition spd="med" advTm="428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 tmFilter="0,0; .5, 1; 1, 1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 tmFilter="0,0; .5, 1; 1, 1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149"/>
                            </p:stCondLst>
                            <p:childTnLst>
                              <p:par>
                                <p:cTn id="46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17" grpId="0" animBg="1"/>
      <p:bldP spid="16" grpId="0" animBg="1"/>
      <p:bldP spid="19" grpId="0" animBg="1"/>
      <p:bldP spid="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图表 2"/>
          <p:cNvGraphicFramePr/>
          <p:nvPr/>
        </p:nvGraphicFramePr>
        <p:xfrm>
          <a:off x="971600" y="1151344"/>
          <a:ext cx="7200800" cy="3364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任意多边形 3"/>
          <p:cNvSpPr/>
          <p:nvPr/>
        </p:nvSpPr>
        <p:spPr>
          <a:xfrm>
            <a:off x="3373894" y="1354501"/>
            <a:ext cx="597752" cy="978396"/>
          </a:xfrm>
          <a:custGeom>
            <a:avLst/>
            <a:gdLst>
              <a:gd name="connsiteX0" fmla="*/ 0 w 522514"/>
              <a:gd name="connsiteY0" fmla="*/ 344385 h 344385"/>
              <a:gd name="connsiteX1" fmla="*/ 178130 w 522514"/>
              <a:gd name="connsiteY1" fmla="*/ 0 h 344385"/>
              <a:gd name="connsiteX2" fmla="*/ 522514 w 522514"/>
              <a:gd name="connsiteY2" fmla="*/ 0 h 34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2514" h="344385">
                <a:moveTo>
                  <a:pt x="0" y="344385"/>
                </a:moveTo>
                <a:lnTo>
                  <a:pt x="178130" y="0"/>
                </a:lnTo>
                <a:lnTo>
                  <a:pt x="522514" y="0"/>
                </a:lnTo>
              </a:path>
            </a:pathLst>
          </a:cu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sp>
        <p:nvSpPr>
          <p:cNvPr id="5" name="TextBox 22"/>
          <p:cNvSpPr txBox="1"/>
          <p:nvPr/>
        </p:nvSpPr>
        <p:spPr>
          <a:xfrm>
            <a:off x="4157954" y="1042750"/>
            <a:ext cx="25022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>
                <a:latin typeface="+mj-ea"/>
                <a:ea typeface="+mj-ea"/>
              </a:rPr>
              <a:t>单击此处添加文本</a:t>
            </a:r>
          </a:p>
          <a:p>
            <a:r>
              <a:rPr lang="zh-CN" altLang="en-US" sz="1400" dirty="0">
                <a:latin typeface="+mj-ea"/>
                <a:ea typeface="+mj-ea"/>
              </a:rPr>
              <a:t>单击此处添加文本</a:t>
            </a:r>
          </a:p>
          <a:p>
            <a:r>
              <a:rPr lang="zh-CN" altLang="en-US" sz="1400" dirty="0">
                <a:latin typeface="+mj-ea"/>
                <a:ea typeface="+mj-ea"/>
              </a:rPr>
              <a:t>单击此处添加文本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65">
        <p:fade/>
      </p:transition>
    </mc:Choice>
    <mc:Fallback xmlns="">
      <p:transition spd="med" advTm="186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4" grpId="0" animBg="1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Group 3"/>
          <p:cNvGraphicFramePr/>
          <p:nvPr/>
        </p:nvGraphicFramePr>
        <p:xfrm>
          <a:off x="971602" y="987574"/>
          <a:ext cx="7200801" cy="3024336"/>
        </p:xfrm>
        <a:graphic>
          <a:graphicData uri="http://schemas.openxmlformats.org/drawingml/2006/table">
            <a:tbl>
              <a:tblPr/>
              <a:tblGrid>
                <a:gridCol w="15808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59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73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7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59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59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735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64201">
                <a:tc>
                  <a:txBody>
                    <a:bodyPr/>
                    <a:lstStyle/>
                    <a:p>
                      <a:pPr marL="0" marR="0" lvl="0" indent="0" algn="l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内容</a:t>
                      </a: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5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6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4212"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137160" marR="137160" marT="0" marB="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210"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7541"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544"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8876"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5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8876"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6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8876"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7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70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anose="020B0600070205080204" pitchFamily="34" charset="-128"/>
                        <a:buNone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1763688" y="4011911"/>
            <a:ext cx="5778642" cy="646331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>
            <a:spAutoFit/>
          </a:bodyPr>
          <a:lstStyle/>
          <a:p>
            <a:pPr indent="-90805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2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  <a:endParaRPr lang="en-US" altLang="zh-CN" sz="1200" dirty="0">
              <a:latin typeface="+mj-ea"/>
              <a:ea typeface="+mj-ea"/>
            </a:endParaRPr>
          </a:p>
          <a:p>
            <a:pPr indent="-90805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200" dirty="0">
                <a:latin typeface="+mj-ea"/>
              </a:rPr>
              <a:t>单击此处添加文本，单击此处添加文本，单击此处添加文本，单击此处添加文本。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56">
        <p:fade/>
      </p:transition>
    </mc:Choice>
    <mc:Fallback xmlns="">
      <p:transition spd="med" advTm="145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圆角右箭头 2"/>
          <p:cNvSpPr/>
          <p:nvPr/>
        </p:nvSpPr>
        <p:spPr>
          <a:xfrm>
            <a:off x="3489762" y="1209850"/>
            <a:ext cx="1080248" cy="1226498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4" name="圆角右箭头 3"/>
          <p:cNvSpPr/>
          <p:nvPr/>
        </p:nvSpPr>
        <p:spPr>
          <a:xfrm rot="5400000">
            <a:off x="4907907" y="1291947"/>
            <a:ext cx="1073185" cy="1234570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5" name="圆角右箭头 4"/>
          <p:cNvSpPr/>
          <p:nvPr/>
        </p:nvSpPr>
        <p:spPr>
          <a:xfrm rot="16200000">
            <a:off x="3435414" y="2611176"/>
            <a:ext cx="1073185" cy="1234570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6" name="圆角右箭头 5"/>
          <p:cNvSpPr/>
          <p:nvPr/>
        </p:nvSpPr>
        <p:spPr>
          <a:xfrm flipH="1" flipV="1">
            <a:off x="4852933" y="2683654"/>
            <a:ext cx="1080248" cy="1226498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3824045" y="1865463"/>
            <a:ext cx="1800200" cy="1501897"/>
            <a:chOff x="3666054" y="2607295"/>
            <a:chExt cx="1924896" cy="2002530"/>
          </a:xfrm>
        </p:grpSpPr>
        <p:sp>
          <p:nvSpPr>
            <p:cNvPr id="8" name="TextBox 7"/>
            <p:cNvSpPr txBox="1"/>
            <p:nvPr/>
          </p:nvSpPr>
          <p:spPr>
            <a:xfrm>
              <a:off x="3753141" y="2607295"/>
              <a:ext cx="1750723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400" b="1" dirty="0">
                  <a:latin typeface="微软雅黑" panose="020B0503020204020204" pitchFamily="34" charset="-122"/>
                </a:rPr>
                <a:t>添加标题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666054" y="3206363"/>
              <a:ext cx="1924896" cy="14034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6156176" y="1143341"/>
            <a:ext cx="1800200" cy="1280909"/>
            <a:chOff x="6391520" y="1772816"/>
            <a:chExt cx="1924896" cy="1707877"/>
          </a:xfrm>
        </p:grpSpPr>
        <p:sp>
          <p:nvSpPr>
            <p:cNvPr id="11" name="TextBox 10"/>
            <p:cNvSpPr txBox="1"/>
            <p:nvPr/>
          </p:nvSpPr>
          <p:spPr>
            <a:xfrm>
              <a:off x="6622623" y="1772816"/>
              <a:ext cx="1462691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anose="020B0503020204020204" pitchFamily="34" charset="-122"/>
                </a:rPr>
                <a:t>添加标题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391520" y="2077233"/>
              <a:ext cx="1924896" cy="14034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6156176" y="2713181"/>
            <a:ext cx="1800200" cy="1300039"/>
            <a:chOff x="6391520" y="3692218"/>
            <a:chExt cx="1924896" cy="1733386"/>
          </a:xfrm>
        </p:grpSpPr>
        <p:sp>
          <p:nvSpPr>
            <p:cNvPr id="14" name="TextBox 13"/>
            <p:cNvSpPr txBox="1"/>
            <p:nvPr/>
          </p:nvSpPr>
          <p:spPr>
            <a:xfrm>
              <a:off x="6622623" y="3692218"/>
              <a:ext cx="1462691" cy="4514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anose="020B0503020204020204" pitchFamily="34" charset="-122"/>
                </a:rPr>
                <a:t>添加标题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391520" y="4022142"/>
              <a:ext cx="1924896" cy="14034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1331640" y="1131592"/>
            <a:ext cx="1800200" cy="1269861"/>
            <a:chOff x="918912" y="1844824"/>
            <a:chExt cx="1924896" cy="1693146"/>
          </a:xfrm>
        </p:grpSpPr>
        <p:sp>
          <p:nvSpPr>
            <p:cNvPr id="17" name="TextBox 16"/>
            <p:cNvSpPr txBox="1"/>
            <p:nvPr/>
          </p:nvSpPr>
          <p:spPr>
            <a:xfrm>
              <a:off x="1150015" y="1844824"/>
              <a:ext cx="1462691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anose="020B0503020204020204" pitchFamily="34" charset="-122"/>
                </a:rPr>
                <a:t>添加标题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918912" y="2134510"/>
              <a:ext cx="1924896" cy="14034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1331640" y="2786494"/>
            <a:ext cx="1800200" cy="1308273"/>
            <a:chOff x="918912" y="3738518"/>
            <a:chExt cx="1924896" cy="1744365"/>
          </a:xfrm>
        </p:grpSpPr>
        <p:sp>
          <p:nvSpPr>
            <p:cNvPr id="20" name="TextBox 19"/>
            <p:cNvSpPr txBox="1"/>
            <p:nvPr/>
          </p:nvSpPr>
          <p:spPr>
            <a:xfrm>
              <a:off x="1150015" y="3738518"/>
              <a:ext cx="1462691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anose="020B0503020204020204" pitchFamily="34" charset="-122"/>
                </a:rPr>
                <a:t>添加标题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918912" y="4079421"/>
              <a:ext cx="1924896" cy="14034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anose="020B0503020204020204" pitchFamily="34" charset="-122"/>
                </a:rPr>
                <a:t>单击此处添加文本</a:t>
              </a:r>
              <a:endParaRPr lang="en-US" altLang="zh-CN" sz="1200" dirty="0">
                <a:latin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851">
        <p:fade/>
      </p:transition>
    </mc:Choice>
    <mc:Fallback xmlns="">
      <p:transition spd="med" advTm="285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  <a:endParaRPr lang="zh-CN" altLang="en-US" b="0" dirty="0"/>
          </a:p>
        </p:txBody>
      </p:sp>
      <p:sp>
        <p:nvSpPr>
          <p:cNvPr id="3" name="TextBox 2"/>
          <p:cNvSpPr txBox="1"/>
          <p:nvPr/>
        </p:nvSpPr>
        <p:spPr>
          <a:xfrm>
            <a:off x="3974914" y="2563145"/>
            <a:ext cx="1429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5242289" y="1979172"/>
            <a:ext cx="1922001" cy="1672698"/>
            <a:chOff x="5222840" y="2057508"/>
            <a:chExt cx="2085464" cy="1814959"/>
          </a:xfrm>
        </p:grpSpPr>
        <p:sp>
          <p:nvSpPr>
            <p:cNvPr id="6" name="燕尾形箭头 5"/>
            <p:cNvSpPr/>
            <p:nvPr/>
          </p:nvSpPr>
          <p:spPr>
            <a:xfrm>
              <a:off x="5222840" y="2057508"/>
              <a:ext cx="2085464" cy="1814959"/>
            </a:xfrm>
            <a:prstGeom prst="notchedRightArrow">
              <a:avLst>
                <a:gd name="adj1" fmla="val 60007"/>
                <a:gd name="adj2" fmla="val 36498"/>
              </a:avLst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757319" y="2764596"/>
              <a:ext cx="1030848" cy="400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3648156" y="746189"/>
            <a:ext cx="1995924" cy="1610746"/>
            <a:chOff x="3494510" y="676813"/>
            <a:chExt cx="2165675" cy="1747738"/>
          </a:xfrm>
        </p:grpSpPr>
        <p:sp>
          <p:nvSpPr>
            <p:cNvPr id="9" name="燕尾形箭头 8"/>
            <p:cNvSpPr/>
            <p:nvPr/>
          </p:nvSpPr>
          <p:spPr>
            <a:xfrm rot="16200000">
              <a:off x="3703479" y="467844"/>
              <a:ext cx="1747738" cy="2165675"/>
            </a:xfrm>
            <a:prstGeom prst="notchedRightArrow">
              <a:avLst>
                <a:gd name="adj1" fmla="val 60007"/>
                <a:gd name="adj2" fmla="val 36498"/>
              </a:avLst>
            </a:prstGeom>
            <a:solidFill>
              <a:srgbClr val="20B3D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061923" y="1428670"/>
              <a:ext cx="1030848" cy="400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145945" y="1979172"/>
            <a:ext cx="1922001" cy="1672698"/>
            <a:chOff x="1835697" y="2057507"/>
            <a:chExt cx="2085464" cy="1814959"/>
          </a:xfrm>
        </p:grpSpPr>
        <p:sp>
          <p:nvSpPr>
            <p:cNvPr id="12" name="燕尾形箭头 11"/>
            <p:cNvSpPr/>
            <p:nvPr/>
          </p:nvSpPr>
          <p:spPr>
            <a:xfrm flipH="1">
              <a:off x="1835697" y="2057507"/>
              <a:ext cx="2085464" cy="1814959"/>
            </a:xfrm>
            <a:prstGeom prst="notchedRightArrow">
              <a:avLst>
                <a:gd name="adj1" fmla="val 60007"/>
                <a:gd name="adj2" fmla="val 36498"/>
              </a:avLst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265216" y="2764596"/>
              <a:ext cx="1030848" cy="400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</a:p>
          </p:txBody>
        </p:sp>
      </p:grp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1331640" y="3489270"/>
            <a:ext cx="6714746" cy="738664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>
            <a:spAutoFit/>
          </a:bodyPr>
          <a:lstStyle/>
          <a:p>
            <a:pPr indent="-90805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  <a:endParaRPr lang="en-US" altLang="zh-CN" sz="1400" dirty="0">
              <a:latin typeface="+mj-ea"/>
              <a:ea typeface="+mj-ea"/>
            </a:endParaRPr>
          </a:p>
          <a:p>
            <a:pPr indent="-90805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</a:rPr>
              <a:t>单击此处添加文本，单击此处添加文本，单击此处添加文本，单击此处添加文本。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21">
        <p:fade/>
      </p:transition>
    </mc:Choice>
    <mc:Fallback xmlns="">
      <p:transition spd="med" advTm="212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Rectangle 4"/>
          <p:cNvSpPr/>
          <p:nvPr/>
        </p:nvSpPr>
        <p:spPr>
          <a:xfrm>
            <a:off x="1386408" y="1507445"/>
            <a:ext cx="6326810" cy="1558047"/>
          </a:xfrm>
          <a:custGeom>
            <a:avLst/>
            <a:gdLst/>
            <a:ahLst/>
            <a:cxnLst/>
            <a:rect l="l" t="t" r="r" b="b"/>
            <a:pathLst>
              <a:path w="11382338" h="2568737">
                <a:moveTo>
                  <a:pt x="1196576" y="0"/>
                </a:moveTo>
                <a:cubicBezTo>
                  <a:pt x="1196576" y="0"/>
                  <a:pt x="1196576" y="0"/>
                  <a:pt x="1125260" y="577002"/>
                </a:cubicBezTo>
                <a:cubicBezTo>
                  <a:pt x="2331697" y="739623"/>
                  <a:pt x="3933512" y="838492"/>
                  <a:pt x="5691170" y="838492"/>
                </a:cubicBezTo>
                <a:cubicBezTo>
                  <a:pt x="7448828" y="838492"/>
                  <a:pt x="9050642" y="739623"/>
                  <a:pt x="10257078" y="577002"/>
                </a:cubicBezTo>
                <a:cubicBezTo>
                  <a:pt x="10246787" y="493740"/>
                  <a:pt x="10226350" y="328386"/>
                  <a:pt x="10185762" y="0"/>
                </a:cubicBezTo>
                <a:cubicBezTo>
                  <a:pt x="10185762" y="0"/>
                  <a:pt x="10185762" y="0"/>
                  <a:pt x="11382338" y="1284369"/>
                </a:cubicBezTo>
                <a:cubicBezTo>
                  <a:pt x="11382338" y="1284369"/>
                  <a:pt x="11382338" y="1284369"/>
                  <a:pt x="10185762" y="2568737"/>
                </a:cubicBezTo>
                <a:cubicBezTo>
                  <a:pt x="10185762" y="2568737"/>
                  <a:pt x="10185762" y="2568737"/>
                  <a:pt x="10256292" y="1992560"/>
                </a:cubicBezTo>
                <a:cubicBezTo>
                  <a:pt x="9049945" y="1830006"/>
                  <a:pt x="7448446" y="1731179"/>
                  <a:pt x="5691170" y="1731179"/>
                </a:cubicBezTo>
                <a:cubicBezTo>
                  <a:pt x="3933894" y="1731179"/>
                  <a:pt x="2332393" y="1830006"/>
                  <a:pt x="1126047" y="1992560"/>
                </a:cubicBezTo>
                <a:cubicBezTo>
                  <a:pt x="1136580" y="2078609"/>
                  <a:pt x="1156998" y="2245408"/>
                  <a:pt x="1196576" y="2568737"/>
                </a:cubicBezTo>
                <a:cubicBezTo>
                  <a:pt x="1196576" y="2568737"/>
                  <a:pt x="1196576" y="2568737"/>
                  <a:pt x="0" y="1284369"/>
                </a:cubicBezTo>
                <a:cubicBezTo>
                  <a:pt x="0" y="1284369"/>
                  <a:pt x="0" y="1284369"/>
                  <a:pt x="1196576" y="0"/>
                </a:cubicBezTo>
                <a:close/>
              </a:path>
            </a:pathLst>
          </a:custGeom>
          <a:solidFill>
            <a:srgbClr val="20B3D2"/>
          </a:solidFill>
          <a:ln w="10795" cap="flat" cmpd="sng" algn="ctr">
            <a:noFill/>
            <a:prstDash val="solid"/>
          </a:ln>
          <a:effectLst/>
        </p:spPr>
        <p:txBody>
          <a:bodyPr lIns="68555" tIns="34277" rIns="68555" bIns="34277" rtlCol="0" anchor="ctr"/>
          <a:lstStyle/>
          <a:p>
            <a:pPr algn="ctr" defTabSz="699135">
              <a:defRPr/>
            </a:pPr>
            <a:endParaRPr lang="en-US" sz="1350" kern="0" dirty="0" err="1">
              <a:latin typeface="+mj-ea"/>
              <a:ea typeface="+mj-ea"/>
            </a:endParaRPr>
          </a:p>
        </p:txBody>
      </p:sp>
      <p:sp>
        <p:nvSpPr>
          <p:cNvPr id="4" name="Rectangle 39"/>
          <p:cNvSpPr/>
          <p:nvPr/>
        </p:nvSpPr>
        <p:spPr bwMode="auto">
          <a:xfrm>
            <a:off x="1677436" y="2139774"/>
            <a:ext cx="1221140" cy="28796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9932" tIns="69932" rIns="69932" bIns="69932" numCol="1" spcCol="0" rtlCol="0" fromWordArt="0" anchor="ctr" anchorCtr="0" forceAA="0" compatLnSpc="1">
            <a:noAutofit/>
          </a:bodyPr>
          <a:lstStyle/>
          <a:p>
            <a:pPr algn="ctr" defTabSz="699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kern="0" dirty="0">
                <a:solidFill>
                  <a:schemeClr val="bg1"/>
                </a:solidFill>
                <a:latin typeface="+mj-ea"/>
                <a:ea typeface="+mj-ea"/>
                <a:cs typeface="Segoe UI" panose="020B0502040204020203" pitchFamily="34" charset="0"/>
              </a:rPr>
              <a:t>添加文本</a:t>
            </a:r>
            <a:endParaRPr lang="en-US" sz="1200" kern="0" dirty="0">
              <a:solidFill>
                <a:schemeClr val="bg1"/>
              </a:solidFill>
              <a:latin typeface="+mj-ea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" name="Rectangle 40"/>
          <p:cNvSpPr/>
          <p:nvPr/>
        </p:nvSpPr>
        <p:spPr bwMode="auto">
          <a:xfrm>
            <a:off x="3807477" y="2139774"/>
            <a:ext cx="1575376" cy="28796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9932" tIns="69932" rIns="69932" bIns="69932" numCol="1" spcCol="0" rtlCol="0" fromWordArt="0" anchor="ctr" anchorCtr="0" forceAA="0" compatLnSpc="1">
            <a:noAutofit/>
          </a:bodyPr>
          <a:lstStyle/>
          <a:p>
            <a:pPr algn="ctr" defTabSz="699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kern="0" dirty="0">
                <a:solidFill>
                  <a:schemeClr val="bg1"/>
                </a:solidFill>
                <a:latin typeface="+mj-ea"/>
                <a:ea typeface="+mj-ea"/>
                <a:cs typeface="Segoe UI" panose="020B0502040204020203" pitchFamily="34" charset="0"/>
              </a:rPr>
              <a:t>添加文本</a:t>
            </a:r>
            <a:endParaRPr lang="en-US" altLang="zh-CN" sz="1200" kern="0" dirty="0">
              <a:solidFill>
                <a:schemeClr val="bg1"/>
              </a:solidFill>
              <a:latin typeface="+mj-ea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" name="Rectangle 41"/>
          <p:cNvSpPr/>
          <p:nvPr/>
        </p:nvSpPr>
        <p:spPr bwMode="auto">
          <a:xfrm>
            <a:off x="6261445" y="2139774"/>
            <a:ext cx="1361513" cy="28796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9932" tIns="69932" rIns="69932" bIns="69932" numCol="1" spcCol="0" rtlCol="0" fromWordArt="0" anchor="ctr" anchorCtr="0" forceAA="0" compatLnSpc="1">
            <a:noAutofit/>
          </a:bodyPr>
          <a:lstStyle/>
          <a:p>
            <a:pPr algn="ctr" defTabSz="699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kern="0" dirty="0">
                <a:solidFill>
                  <a:schemeClr val="bg1"/>
                </a:solidFill>
                <a:latin typeface="+mj-ea"/>
                <a:ea typeface="+mj-ea"/>
                <a:cs typeface="Segoe UI" panose="020B0502040204020203" pitchFamily="34" charset="0"/>
              </a:rPr>
              <a:t>添加文本</a:t>
            </a:r>
            <a:endParaRPr lang="en-US" altLang="zh-CN" sz="1200" kern="0" dirty="0">
              <a:solidFill>
                <a:schemeClr val="bg1"/>
              </a:solidFill>
              <a:latin typeface="+mj-ea"/>
              <a:ea typeface="+mj-ea"/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92795" y="1091947"/>
            <a:ext cx="19446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99135"/>
            <a:r>
              <a:rPr lang="zh-CN" altLang="en-US" dirty="0">
                <a:latin typeface="+mj-ea"/>
                <a:ea typeface="+mj-ea"/>
              </a:rPr>
              <a:t>添加标题</a:t>
            </a:r>
            <a:endParaRPr lang="en-US" dirty="0">
              <a:latin typeface="+mj-ea"/>
              <a:ea typeface="+mj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78290" y="1091947"/>
            <a:ext cx="19446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99135"/>
            <a:r>
              <a:rPr lang="zh-CN" altLang="en-US" dirty="0">
                <a:latin typeface="+mj-ea"/>
                <a:ea typeface="+mj-ea"/>
              </a:rPr>
              <a:t>添加标题</a:t>
            </a:r>
            <a:endParaRPr lang="en-US" altLang="zh-CN" dirty="0">
              <a:latin typeface="+mj-ea"/>
              <a:ea typeface="+mj-ea"/>
            </a:endParaRPr>
          </a:p>
        </p:txBody>
      </p:sp>
      <p:sp>
        <p:nvSpPr>
          <p:cNvPr id="9" name="Content Placeholder 6"/>
          <p:cNvSpPr txBox="1"/>
          <p:nvPr/>
        </p:nvSpPr>
        <p:spPr>
          <a:xfrm>
            <a:off x="1170384" y="3124892"/>
            <a:ext cx="6858000" cy="1031034"/>
          </a:xfrm>
          <a:prstGeom prst="rect">
            <a:avLst/>
          </a:prstGeom>
        </p:spPr>
        <p:txBody>
          <a:bodyPr lIns="69932" tIns="34965" rIns="69932" bIns="34965"/>
          <a:lstStyle>
            <a:lvl1pPr marL="346075" indent="-34607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anose="020B0604020202020204" pitchFamily="34" charset="0"/>
              <a:buChar char="•"/>
              <a:defRPr sz="32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1pPr>
            <a:lvl2pPr marL="630555" indent="-28448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anose="020B0604020202020204" pitchFamily="34" charset="0"/>
              <a:buChar char="•"/>
              <a:tabLst>
                <a:tab pos="629920" algn="l"/>
              </a:tabLst>
              <a:defRPr sz="28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2pPr>
            <a:lvl3pPr marL="914400" indent="-28448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anose="020B0604020202020204" pitchFamily="34" charset="0"/>
              <a:buChar char="•"/>
              <a:defRPr sz="24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3pPr>
            <a:lvl4pPr marL="1482725" indent="-22415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anose="020B0604020202020204" pitchFamily="34" charset="0"/>
              <a:buChar char="•"/>
              <a:tabLst>
                <a:tab pos="914400" algn="l"/>
              </a:tabLst>
              <a:defRPr sz="20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4pPr>
            <a:lvl5pPr marL="1713230" indent="-23050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anose="020B0604020202020204" pitchFamily="34" charset="0"/>
              <a:buChar char="•"/>
              <a:defRPr sz="20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450"/>
              </a:spcAft>
              <a:buNone/>
            </a:pPr>
            <a:r>
              <a:rPr lang="zh-CN" altLang="en-US" sz="1800" dirty="0">
                <a:solidFill>
                  <a:schemeClr val="tx1"/>
                </a:solidFill>
                <a:latin typeface="+mj-ea"/>
                <a:ea typeface="+mj-ea"/>
              </a:rPr>
              <a:t>单击此处添加标题</a:t>
            </a:r>
            <a:endParaRPr lang="en-US" sz="18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68910" indent="0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  <a:buNone/>
            </a:pPr>
            <a:r>
              <a:rPr lang="zh-CN" altLang="en-US" sz="12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  <a:endParaRPr lang="en-US" altLang="zh-CN" sz="1200" dirty="0">
              <a:latin typeface="+mj-ea"/>
              <a:ea typeface="+mj-ea"/>
            </a:endParaRPr>
          </a:p>
          <a:p>
            <a:pPr marL="168910" indent="0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  <a:buNone/>
            </a:pPr>
            <a:r>
              <a:rPr lang="zh-CN" altLang="en-US" sz="12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61">
        <p:fade/>
      </p:transition>
    </mc:Choice>
    <mc:Fallback xmlns="">
      <p:transition spd="med" advTm="336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5" grpId="0"/>
      <p:bldP spid="6" grpId="0"/>
      <p:bldP spid="7" grpId="0"/>
      <p:bldP spid="8" grpId="0"/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1398548" y="2049395"/>
            <a:ext cx="908076" cy="864834"/>
            <a:chOff x="971600" y="2565539"/>
            <a:chExt cx="1210768" cy="1153112"/>
          </a:xfrm>
        </p:grpSpPr>
        <p:sp>
          <p:nvSpPr>
            <p:cNvPr id="3" name="正五边形 2"/>
            <p:cNvSpPr/>
            <p:nvPr/>
          </p:nvSpPr>
          <p:spPr>
            <a:xfrm>
              <a:off x="971600" y="2565539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99624" y="2956794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anose="04040905080B02020502" pitchFamily="82" charset="0"/>
                </a:rPr>
                <a:t>01</a:t>
              </a:r>
              <a:endParaRPr lang="zh-CN" altLang="en-US" sz="1400" dirty="0">
                <a:solidFill>
                  <a:schemeClr val="bg1"/>
                </a:solidFill>
                <a:latin typeface="Broadway" panose="04040905080B02020502" pitchFamily="82" charset="0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2334652" y="2400805"/>
            <a:ext cx="908076" cy="864834"/>
            <a:chOff x="2010514" y="3034085"/>
            <a:chExt cx="1210768" cy="1153112"/>
          </a:xfrm>
        </p:grpSpPr>
        <p:sp>
          <p:nvSpPr>
            <p:cNvPr id="4" name="正五边形 3"/>
            <p:cNvSpPr/>
            <p:nvPr/>
          </p:nvSpPr>
          <p:spPr>
            <a:xfrm flipV="1">
              <a:off x="2010514" y="3034085"/>
              <a:ext cx="1210768" cy="1153112"/>
            </a:xfrm>
            <a:prstGeom prst="pentagon">
              <a:avLst/>
            </a:pr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338538" y="3307492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anose="04040905080B02020502" pitchFamily="82" charset="0"/>
                </a:rPr>
                <a:t>02</a:t>
              </a:r>
              <a:endParaRPr lang="zh-CN" altLang="en-US" sz="1400" dirty="0">
                <a:solidFill>
                  <a:schemeClr val="bg1"/>
                </a:solidFill>
                <a:latin typeface="Broadway" panose="04040905080B02020502" pitchFamily="82" charset="0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3246348" y="2048919"/>
            <a:ext cx="908076" cy="864834"/>
            <a:chOff x="3049428" y="2564904"/>
            <a:chExt cx="1210768" cy="1153112"/>
          </a:xfrm>
        </p:grpSpPr>
        <p:sp>
          <p:nvSpPr>
            <p:cNvPr id="5" name="正五边形 4"/>
            <p:cNvSpPr/>
            <p:nvPr/>
          </p:nvSpPr>
          <p:spPr>
            <a:xfrm>
              <a:off x="3049428" y="2564904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377452" y="2959149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anose="04040905080B02020502" pitchFamily="82" charset="0"/>
                </a:rPr>
                <a:t>03</a:t>
              </a:r>
              <a:endParaRPr lang="zh-CN" altLang="en-US" sz="1400" dirty="0">
                <a:solidFill>
                  <a:schemeClr val="bg1"/>
                </a:solidFill>
                <a:latin typeface="Broadway" panose="04040905080B02020502" pitchFamily="82" charset="0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4189014" y="2395305"/>
            <a:ext cx="908076" cy="864834"/>
            <a:chOff x="4074952" y="3026752"/>
            <a:chExt cx="1210768" cy="1153112"/>
          </a:xfrm>
        </p:grpSpPr>
        <p:sp>
          <p:nvSpPr>
            <p:cNvPr id="7" name="正五边形 6"/>
            <p:cNvSpPr/>
            <p:nvPr/>
          </p:nvSpPr>
          <p:spPr>
            <a:xfrm flipV="1">
              <a:off x="4074952" y="3026752"/>
              <a:ext cx="1210768" cy="1153112"/>
            </a:xfrm>
            <a:prstGeom prst="pentagon">
              <a:avLst/>
            </a:pr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402976" y="3349319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anose="04040905080B02020502" pitchFamily="82" charset="0"/>
                </a:rPr>
                <a:t>04</a:t>
              </a:r>
              <a:endParaRPr lang="zh-CN" altLang="en-US" sz="1400" dirty="0">
                <a:solidFill>
                  <a:schemeClr val="bg1"/>
                </a:solidFill>
                <a:latin typeface="Broadway" panose="04040905080B02020502" pitchFamily="82" charset="0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5170092" y="2049395"/>
            <a:ext cx="908076" cy="864834"/>
            <a:chOff x="5099352" y="2565539"/>
            <a:chExt cx="1210768" cy="1153112"/>
          </a:xfrm>
        </p:grpSpPr>
        <p:sp>
          <p:nvSpPr>
            <p:cNvPr id="9" name="正五边形 8"/>
            <p:cNvSpPr/>
            <p:nvPr/>
          </p:nvSpPr>
          <p:spPr>
            <a:xfrm>
              <a:off x="5099352" y="2565539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427376" y="2957430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anose="04040905080B02020502" pitchFamily="82" charset="0"/>
                </a:rPr>
                <a:t>05</a:t>
              </a:r>
              <a:endParaRPr lang="zh-CN" altLang="en-US" sz="1400" dirty="0">
                <a:solidFill>
                  <a:schemeClr val="bg1"/>
                </a:solidFill>
                <a:latin typeface="Broadway" panose="04040905080B02020502" pitchFamily="82" charset="0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6073439" y="2395305"/>
            <a:ext cx="908076" cy="864834"/>
            <a:chOff x="6138268" y="3026752"/>
            <a:chExt cx="1210768" cy="1153112"/>
          </a:xfrm>
        </p:grpSpPr>
        <p:sp>
          <p:nvSpPr>
            <p:cNvPr id="10" name="正五边形 9"/>
            <p:cNvSpPr/>
            <p:nvPr/>
          </p:nvSpPr>
          <p:spPr>
            <a:xfrm flipV="1">
              <a:off x="6138268" y="3026752"/>
              <a:ext cx="1210768" cy="1153112"/>
            </a:xfrm>
            <a:prstGeom prst="pentagon">
              <a:avLst/>
            </a:pr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466292" y="3307491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anose="04040905080B02020502" pitchFamily="82" charset="0"/>
                </a:rPr>
                <a:t>06</a:t>
              </a:r>
              <a:endParaRPr lang="zh-CN" altLang="en-US" sz="1400" dirty="0">
                <a:solidFill>
                  <a:schemeClr val="bg1"/>
                </a:solidFill>
                <a:latin typeface="Broadway" panose="04040905080B02020502" pitchFamily="82" charset="0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6932304" y="2048919"/>
            <a:ext cx="908076" cy="864834"/>
            <a:chOff x="7177678" y="2564904"/>
            <a:chExt cx="1210768" cy="1153112"/>
          </a:xfrm>
        </p:grpSpPr>
        <p:sp>
          <p:nvSpPr>
            <p:cNvPr id="12" name="正五边形 11"/>
            <p:cNvSpPr/>
            <p:nvPr/>
          </p:nvSpPr>
          <p:spPr>
            <a:xfrm>
              <a:off x="7177678" y="2564904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505702" y="2982343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anose="04040905080B02020502" pitchFamily="82" charset="0"/>
                </a:rPr>
                <a:t>07</a:t>
              </a:r>
              <a:endParaRPr lang="zh-CN" altLang="en-US" sz="1400" dirty="0">
                <a:solidFill>
                  <a:schemeClr val="bg1"/>
                </a:solidFill>
                <a:latin typeface="Broadway" panose="04040905080B02020502" pitchFamily="82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1213428" y="2977487"/>
            <a:ext cx="1319246" cy="1353043"/>
            <a:chOff x="724774" y="3802992"/>
            <a:chExt cx="1758994" cy="1804057"/>
          </a:xfrm>
        </p:grpSpPr>
        <p:cxnSp>
          <p:nvCxnSpPr>
            <p:cNvPr id="21" name="直接连接符 20"/>
            <p:cNvCxnSpPr/>
            <p:nvPr/>
          </p:nvCxnSpPr>
          <p:spPr>
            <a:xfrm>
              <a:off x="1216652" y="3802992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1576984" y="3802992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矩形 23"/>
            <p:cNvSpPr/>
            <p:nvPr/>
          </p:nvSpPr>
          <p:spPr>
            <a:xfrm>
              <a:off x="724774" y="458112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3062534" y="2977487"/>
            <a:ext cx="1319246" cy="1353043"/>
            <a:chOff x="2804343" y="3802992"/>
            <a:chExt cx="1758994" cy="1804057"/>
          </a:xfrm>
        </p:grpSpPr>
        <p:cxnSp>
          <p:nvCxnSpPr>
            <p:cNvPr id="25" name="直接连接符 24"/>
            <p:cNvCxnSpPr/>
            <p:nvPr/>
          </p:nvCxnSpPr>
          <p:spPr>
            <a:xfrm>
              <a:off x="3296221" y="3802992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3656553" y="3802992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矩形 26"/>
            <p:cNvSpPr/>
            <p:nvPr/>
          </p:nvSpPr>
          <p:spPr>
            <a:xfrm>
              <a:off x="2804343" y="458112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5006750" y="2977487"/>
            <a:ext cx="1319246" cy="1353043"/>
            <a:chOff x="4881563" y="3802992"/>
            <a:chExt cx="1758994" cy="1804057"/>
          </a:xfrm>
        </p:grpSpPr>
        <p:cxnSp>
          <p:nvCxnSpPr>
            <p:cNvPr id="28" name="直接连接符 27"/>
            <p:cNvCxnSpPr/>
            <p:nvPr/>
          </p:nvCxnSpPr>
          <p:spPr>
            <a:xfrm>
              <a:off x="5373441" y="3802992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5733773" y="3802992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矩形 29"/>
            <p:cNvSpPr/>
            <p:nvPr/>
          </p:nvSpPr>
          <p:spPr>
            <a:xfrm>
              <a:off x="4881563" y="458112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6781146" y="2984333"/>
            <a:ext cx="1319246" cy="1353043"/>
            <a:chOff x="6976135" y="3812120"/>
            <a:chExt cx="1758994" cy="1804057"/>
          </a:xfrm>
        </p:grpSpPr>
        <p:cxnSp>
          <p:nvCxnSpPr>
            <p:cNvPr id="31" name="直接连接符 30"/>
            <p:cNvCxnSpPr/>
            <p:nvPr/>
          </p:nvCxnSpPr>
          <p:spPr>
            <a:xfrm>
              <a:off x="7468013" y="3812120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7828345" y="3812120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6976135" y="4590256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2126430" y="1059583"/>
            <a:ext cx="1319246" cy="1259367"/>
            <a:chOff x="1732886" y="1245788"/>
            <a:chExt cx="1758994" cy="1679156"/>
          </a:xfrm>
        </p:grpSpPr>
        <p:cxnSp>
          <p:nvCxnSpPr>
            <p:cNvPr id="34" name="直接连接符 33"/>
            <p:cNvCxnSpPr/>
            <p:nvPr/>
          </p:nvCxnSpPr>
          <p:spPr>
            <a:xfrm>
              <a:off x="2255566" y="2919975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2615898" y="2204864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39"/>
            <p:cNvSpPr/>
            <p:nvPr/>
          </p:nvSpPr>
          <p:spPr>
            <a:xfrm>
              <a:off x="1732886" y="124578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3998638" y="1059582"/>
            <a:ext cx="1319246" cy="1283255"/>
            <a:chOff x="3821118" y="1245788"/>
            <a:chExt cx="1758994" cy="1711006"/>
          </a:xfrm>
        </p:grpSpPr>
        <p:cxnSp>
          <p:nvCxnSpPr>
            <p:cNvPr id="36" name="直接连接符 35"/>
            <p:cNvCxnSpPr/>
            <p:nvPr/>
          </p:nvCxnSpPr>
          <p:spPr>
            <a:xfrm>
              <a:off x="4323331" y="2951825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>
              <a:off x="4683663" y="2236714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矩形 40"/>
            <p:cNvSpPr/>
            <p:nvPr/>
          </p:nvSpPr>
          <p:spPr>
            <a:xfrm>
              <a:off x="3821118" y="124578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5870846" y="1059583"/>
            <a:ext cx="1319246" cy="1255640"/>
            <a:chOff x="5868144" y="1245788"/>
            <a:chExt cx="1758994" cy="1674187"/>
          </a:xfrm>
        </p:grpSpPr>
        <p:cxnSp>
          <p:nvCxnSpPr>
            <p:cNvPr id="38" name="直接连接符 37"/>
            <p:cNvCxnSpPr/>
            <p:nvPr/>
          </p:nvCxnSpPr>
          <p:spPr>
            <a:xfrm>
              <a:off x="6383320" y="2915006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>
              <a:off x="6743652" y="2199895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矩形 41"/>
            <p:cNvSpPr/>
            <p:nvPr/>
          </p:nvSpPr>
          <p:spPr>
            <a:xfrm>
              <a:off x="5868144" y="1245788"/>
              <a:ext cx="1758994" cy="10259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610">
        <p:fade/>
      </p:transition>
    </mc:Choice>
    <mc:Fallback xmlns="">
      <p:transition spd="med" advTm="461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500"/>
                            </p:stCondLst>
                            <p:childTnLst>
                              <p:par>
                                <p:cTn id="5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2830967" y="1077584"/>
            <a:ext cx="0" cy="3078342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2830969" y="1369046"/>
            <a:ext cx="5345749" cy="216024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6" name="矩形 5"/>
          <p:cNvSpPr/>
          <p:nvPr/>
        </p:nvSpPr>
        <p:spPr>
          <a:xfrm>
            <a:off x="2830968" y="2119716"/>
            <a:ext cx="5345749" cy="203437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7" name="矩形 6"/>
          <p:cNvSpPr/>
          <p:nvPr/>
        </p:nvSpPr>
        <p:spPr>
          <a:xfrm>
            <a:off x="2830967" y="2842121"/>
            <a:ext cx="5345748" cy="219113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8" name="矩形 7"/>
          <p:cNvSpPr/>
          <p:nvPr/>
        </p:nvSpPr>
        <p:spPr>
          <a:xfrm>
            <a:off x="2830967" y="3580202"/>
            <a:ext cx="5345748" cy="219114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TextBox 8"/>
          <p:cNvSpPr txBox="1"/>
          <p:nvPr/>
        </p:nvSpPr>
        <p:spPr>
          <a:xfrm>
            <a:off x="1055750" y="1352845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5750" y="2060439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47924" y="2829008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59655" y="3567091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3" name="矩形 12"/>
          <p:cNvSpPr/>
          <p:nvPr/>
        </p:nvSpPr>
        <p:spPr>
          <a:xfrm>
            <a:off x="2830969" y="1369046"/>
            <a:ext cx="1695957" cy="216024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4" name="矩形 13"/>
          <p:cNvSpPr/>
          <p:nvPr/>
        </p:nvSpPr>
        <p:spPr>
          <a:xfrm>
            <a:off x="2830969" y="2107128"/>
            <a:ext cx="3548861" cy="216024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矩形 14"/>
          <p:cNvSpPr/>
          <p:nvPr/>
        </p:nvSpPr>
        <p:spPr>
          <a:xfrm>
            <a:off x="2830969" y="2845210"/>
            <a:ext cx="2300487" cy="216024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6" name="矩形 15"/>
          <p:cNvSpPr/>
          <p:nvPr/>
        </p:nvSpPr>
        <p:spPr>
          <a:xfrm>
            <a:off x="2830967" y="3583293"/>
            <a:ext cx="1150244" cy="225073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7" name="圆角矩形标注 16"/>
          <p:cNvSpPr/>
          <p:nvPr/>
        </p:nvSpPr>
        <p:spPr>
          <a:xfrm>
            <a:off x="4367814" y="933568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50%</a:t>
            </a:r>
            <a:endParaRPr lang="zh-CN" altLang="en-US" sz="1350" dirty="0"/>
          </a:p>
        </p:txBody>
      </p:sp>
      <p:sp>
        <p:nvSpPr>
          <p:cNvPr id="18" name="圆角矩形标注 17"/>
          <p:cNvSpPr/>
          <p:nvPr/>
        </p:nvSpPr>
        <p:spPr>
          <a:xfrm>
            <a:off x="6194771" y="1699792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90%</a:t>
            </a:r>
            <a:endParaRPr lang="zh-CN" altLang="en-US" sz="1350" dirty="0"/>
          </a:p>
        </p:txBody>
      </p:sp>
      <p:sp>
        <p:nvSpPr>
          <p:cNvPr id="19" name="圆角矩形标注 18"/>
          <p:cNvSpPr/>
          <p:nvPr/>
        </p:nvSpPr>
        <p:spPr>
          <a:xfrm>
            <a:off x="4883195" y="2395161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60%</a:t>
            </a:r>
            <a:endParaRPr lang="zh-CN" altLang="en-US" sz="1350" dirty="0"/>
          </a:p>
        </p:txBody>
      </p:sp>
      <p:sp>
        <p:nvSpPr>
          <p:cNvPr id="20" name="圆角矩形标注 19"/>
          <p:cNvSpPr/>
          <p:nvPr/>
        </p:nvSpPr>
        <p:spPr>
          <a:xfrm>
            <a:off x="3765347" y="3155271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20%</a:t>
            </a:r>
            <a:endParaRPr lang="zh-CN" altLang="en-US" sz="135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96">
        <p:fade/>
      </p:transition>
    </mc:Choice>
    <mc:Fallback xmlns="">
      <p:transition spd="med" advTm="389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/>
      <p:bldP spid="10" grpId="0"/>
      <p:bldP spid="11" grpId="0"/>
      <p:bldP spid="12" grpId="0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SmartArt Placeholder 13"/>
          <p:cNvGraphicFramePr/>
          <p:nvPr/>
        </p:nvGraphicFramePr>
        <p:xfrm>
          <a:off x="1043608" y="1452736"/>
          <a:ext cx="3086100" cy="2343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" name="组合 3"/>
          <p:cNvGrpSpPr/>
          <p:nvPr/>
        </p:nvGrpSpPr>
        <p:grpSpPr>
          <a:xfrm>
            <a:off x="4777780" y="1534940"/>
            <a:ext cx="3456384" cy="430887"/>
            <a:chOff x="4932040" y="1169183"/>
            <a:chExt cx="4608512" cy="574515"/>
          </a:xfrm>
        </p:grpSpPr>
        <p:sp>
          <p:nvSpPr>
            <p:cNvPr id="5" name="Content Placeholder 9"/>
            <p:cNvSpPr txBox="1"/>
            <p:nvPr/>
          </p:nvSpPr>
          <p:spPr>
            <a:xfrm>
              <a:off x="4932040" y="1235977"/>
              <a:ext cx="609600" cy="36576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anose="020B0604020202020204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US" sz="1400" dirty="0">
                  <a:solidFill>
                    <a:sysClr val="window" lastClr="FFFFFF"/>
                  </a:solidFill>
                  <a:latin typeface="+mj-lt"/>
                </a:rPr>
                <a:t>100%</a:t>
              </a:r>
            </a:p>
          </p:txBody>
        </p:sp>
        <p:sp>
          <p:nvSpPr>
            <p:cNvPr id="6" name="矩形 5"/>
            <p:cNvSpPr/>
            <p:nvPr/>
          </p:nvSpPr>
          <p:spPr>
            <a:xfrm>
              <a:off x="5624395" y="1169183"/>
              <a:ext cx="3916157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US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4777780" y="2166177"/>
            <a:ext cx="3456384" cy="430887"/>
            <a:chOff x="4932040" y="2010834"/>
            <a:chExt cx="4608512" cy="574515"/>
          </a:xfrm>
        </p:grpSpPr>
        <p:sp>
          <p:nvSpPr>
            <p:cNvPr id="8" name="Content Placeholder 10"/>
            <p:cNvSpPr txBox="1"/>
            <p:nvPr/>
          </p:nvSpPr>
          <p:spPr>
            <a:xfrm>
              <a:off x="4932040" y="2074176"/>
              <a:ext cx="609600" cy="365760"/>
            </a:xfrm>
            <a:prstGeom prst="rect">
              <a:avLst/>
            </a:prstGeom>
            <a:solidFill>
              <a:srgbClr val="278095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anose="020B0604020202020204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US" sz="1400" dirty="0">
                  <a:solidFill>
                    <a:sysClr val="window" lastClr="FFFFFF"/>
                  </a:solidFill>
                  <a:latin typeface="+mj-lt"/>
                </a:rPr>
                <a:t>95%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5624395" y="2010834"/>
              <a:ext cx="3916157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US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4777780" y="2775778"/>
            <a:ext cx="3456384" cy="430887"/>
            <a:chOff x="4932040" y="2823635"/>
            <a:chExt cx="4608512" cy="574515"/>
          </a:xfrm>
        </p:grpSpPr>
        <p:sp>
          <p:nvSpPr>
            <p:cNvPr id="11" name="Content Placeholder 11"/>
            <p:cNvSpPr txBox="1"/>
            <p:nvPr/>
          </p:nvSpPr>
          <p:spPr>
            <a:xfrm>
              <a:off x="4932040" y="2886977"/>
              <a:ext cx="609600" cy="365760"/>
            </a:xfrm>
            <a:prstGeom prst="rect">
              <a:avLst/>
            </a:prstGeom>
            <a:solidFill>
              <a:srgbClr val="20B3D2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anose="020B0604020202020204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US" sz="1400" dirty="0">
                  <a:solidFill>
                    <a:sysClr val="window" lastClr="FFFFFF"/>
                  </a:solidFill>
                  <a:latin typeface="+mj-lt"/>
                </a:rPr>
                <a:t>85%</a:t>
              </a:r>
            </a:p>
          </p:txBody>
        </p:sp>
        <p:sp>
          <p:nvSpPr>
            <p:cNvPr id="12" name="矩形 11"/>
            <p:cNvSpPr/>
            <p:nvPr/>
          </p:nvSpPr>
          <p:spPr>
            <a:xfrm>
              <a:off x="5624395" y="2823635"/>
              <a:ext cx="3916157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US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4777779" y="3351653"/>
            <a:ext cx="3456384" cy="430887"/>
            <a:chOff x="4932040" y="3591475"/>
            <a:chExt cx="4608513" cy="574515"/>
          </a:xfrm>
        </p:grpSpPr>
        <p:sp>
          <p:nvSpPr>
            <p:cNvPr id="14" name="Content Placeholder 12"/>
            <p:cNvSpPr txBox="1"/>
            <p:nvPr/>
          </p:nvSpPr>
          <p:spPr>
            <a:xfrm>
              <a:off x="4932040" y="3699777"/>
              <a:ext cx="609600" cy="365760"/>
            </a:xfrm>
            <a:prstGeom prst="rect">
              <a:avLst/>
            </a:prstGeom>
            <a:solidFill>
              <a:srgbClr val="72D6EA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anose="020B0604020202020204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US" sz="1400" dirty="0">
                  <a:solidFill>
                    <a:sysClr val="window" lastClr="FFFFFF"/>
                  </a:solidFill>
                  <a:latin typeface="+mj-lt"/>
                </a:rPr>
                <a:t>55%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5624395" y="3591475"/>
              <a:ext cx="3916158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US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90">
        <p:fade/>
      </p:transition>
    </mc:Choice>
    <mc:Fallback xmlns="">
      <p:transition spd="med" advTm="199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lvlAtOnce"/>
        </p:bldSub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五边形 2"/>
          <p:cNvSpPr/>
          <p:nvPr/>
        </p:nvSpPr>
        <p:spPr>
          <a:xfrm>
            <a:off x="611560" y="1060452"/>
            <a:ext cx="1764196" cy="383521"/>
          </a:xfrm>
          <a:prstGeom prst="homePlate">
            <a:avLst/>
          </a:prstGeom>
          <a:solidFill>
            <a:srgbClr val="20B3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1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4" name="五边形 3"/>
          <p:cNvSpPr/>
          <p:nvPr/>
        </p:nvSpPr>
        <p:spPr>
          <a:xfrm>
            <a:off x="1404626" y="1520540"/>
            <a:ext cx="1764196" cy="383521"/>
          </a:xfrm>
          <a:prstGeom prst="homePlate">
            <a:avLst/>
          </a:prstGeom>
          <a:solidFill>
            <a:srgbClr val="27809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2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5" name="五边形 4"/>
          <p:cNvSpPr/>
          <p:nvPr/>
        </p:nvSpPr>
        <p:spPr>
          <a:xfrm>
            <a:off x="3147818" y="1950206"/>
            <a:ext cx="1764196" cy="383521"/>
          </a:xfrm>
          <a:prstGeom prst="homePlate">
            <a:avLst/>
          </a:prstGeom>
          <a:solidFill>
            <a:srgbClr val="20B3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3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6" name="五边形 5"/>
          <p:cNvSpPr/>
          <p:nvPr/>
        </p:nvSpPr>
        <p:spPr>
          <a:xfrm>
            <a:off x="4152783" y="2396588"/>
            <a:ext cx="1764196" cy="383521"/>
          </a:xfrm>
          <a:prstGeom prst="homePlate">
            <a:avLst/>
          </a:prstGeom>
          <a:solidFill>
            <a:srgbClr val="27809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4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7" name="五边形 6"/>
          <p:cNvSpPr/>
          <p:nvPr/>
        </p:nvSpPr>
        <p:spPr>
          <a:xfrm>
            <a:off x="5934980" y="2850742"/>
            <a:ext cx="1764196" cy="383521"/>
          </a:xfrm>
          <a:prstGeom prst="homePlate">
            <a:avLst/>
          </a:prstGeom>
          <a:solidFill>
            <a:srgbClr val="20B3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5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8" name="五边形 7"/>
          <p:cNvSpPr/>
          <p:nvPr/>
        </p:nvSpPr>
        <p:spPr>
          <a:xfrm>
            <a:off x="6655060" y="3288350"/>
            <a:ext cx="1764196" cy="383521"/>
          </a:xfrm>
          <a:prstGeom prst="homePlate">
            <a:avLst/>
          </a:prstGeom>
          <a:solidFill>
            <a:srgbClr val="27809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6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3147818" y="835892"/>
            <a:ext cx="0" cy="3329426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916979" y="898508"/>
            <a:ext cx="0" cy="3329426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858418" y="3868868"/>
            <a:ext cx="18517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/>
              <a:t>单击此处添加文本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759216" y="3868868"/>
            <a:ext cx="18517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/>
              <a:t>单击此处添加文本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51504" y="3868868"/>
            <a:ext cx="18517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/>
              <a:t>单击此处添加文本</a:t>
            </a:r>
          </a:p>
        </p:txBody>
      </p:sp>
      <p:cxnSp>
        <p:nvCxnSpPr>
          <p:cNvPr id="14" name="直接连接符 13"/>
          <p:cNvCxnSpPr/>
          <p:nvPr/>
        </p:nvCxnSpPr>
        <p:spPr>
          <a:xfrm>
            <a:off x="642392" y="3814861"/>
            <a:ext cx="7704856" cy="0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88">
        <p:fade/>
      </p:transition>
    </mc:Choice>
    <mc:Fallback xmlns="">
      <p:transition spd="med" advTm="318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1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11" grpId="0"/>
      <p:bldP spid="12" grpId="0"/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12" name="组合 11"/>
          <p:cNvGrpSpPr/>
          <p:nvPr/>
        </p:nvGrpSpPr>
        <p:grpSpPr>
          <a:xfrm>
            <a:off x="3915347" y="927568"/>
            <a:ext cx="1358730" cy="918102"/>
            <a:chOff x="3696463" y="1140746"/>
            <a:chExt cx="1811640" cy="1224136"/>
          </a:xfrm>
        </p:grpSpPr>
        <p:sp>
          <p:nvSpPr>
            <p:cNvPr id="3" name="五边形 2"/>
            <p:cNvSpPr/>
            <p:nvPr/>
          </p:nvSpPr>
          <p:spPr>
            <a:xfrm rot="16200000">
              <a:off x="3990215" y="846994"/>
              <a:ext cx="1224136" cy="1811640"/>
            </a:xfrm>
            <a:prstGeom prst="homePlate">
              <a:avLst>
                <a:gd name="adj" fmla="val 31029"/>
              </a:avLst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139952" y="1644801"/>
              <a:ext cx="1049837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>
                  <a:solidFill>
                    <a:schemeClr val="bg1"/>
                  </a:solidFill>
                </a:rPr>
                <a:t>20%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3833669" y="1953683"/>
            <a:ext cx="1503909" cy="1770196"/>
            <a:chOff x="3833668" y="1881674"/>
            <a:chExt cx="1503909" cy="1770196"/>
          </a:xfrm>
        </p:grpSpPr>
        <p:grpSp>
          <p:nvGrpSpPr>
            <p:cNvPr id="13" name="组合 12"/>
            <p:cNvGrpSpPr/>
            <p:nvPr/>
          </p:nvGrpSpPr>
          <p:grpSpPr>
            <a:xfrm>
              <a:off x="3915348" y="1881674"/>
              <a:ext cx="1358730" cy="1770196"/>
              <a:chOff x="3696464" y="2508898"/>
              <a:chExt cx="1811640" cy="2360261"/>
            </a:xfrm>
          </p:grpSpPr>
          <p:sp>
            <p:nvSpPr>
              <p:cNvPr id="4" name="五边形 3"/>
              <p:cNvSpPr/>
              <p:nvPr/>
            </p:nvSpPr>
            <p:spPr>
              <a:xfrm rot="5400000">
                <a:off x="3422153" y="2783209"/>
                <a:ext cx="2360261" cy="1811640"/>
              </a:xfrm>
              <a:prstGeom prst="homePlate">
                <a:avLst>
                  <a:gd name="adj" fmla="val 27567"/>
                </a:avLst>
              </a:prstGeom>
              <a:solidFill>
                <a:srgbClr val="27809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/>
              </a:p>
            </p:txBody>
          </p:sp>
          <p:sp>
            <p:nvSpPr>
              <p:cNvPr id="6" name="TextBox 5"/>
              <p:cNvSpPr txBox="1"/>
              <p:nvPr/>
            </p:nvSpPr>
            <p:spPr>
              <a:xfrm>
                <a:off x="4077364" y="2767313"/>
                <a:ext cx="1049837" cy="492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</a:rPr>
                  <a:t>80%</a:t>
                </a:r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" name="矩形 6"/>
            <p:cNvSpPr/>
            <p:nvPr/>
          </p:nvSpPr>
          <p:spPr>
            <a:xfrm>
              <a:off x="3833668" y="2523212"/>
              <a:ext cx="1503909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200" dirty="0">
                  <a:solidFill>
                    <a:schemeClr val="bg1"/>
                  </a:solidFill>
                </a:rPr>
                <a:t>单击此处添加文本</a:t>
              </a:r>
              <a:endParaRPr lang="en-US" altLang="zh-CN" sz="1200" dirty="0">
                <a:solidFill>
                  <a:schemeClr val="bg1"/>
                </a:solidFill>
              </a:endParaRPr>
            </a:p>
            <a:p>
              <a:pPr lvl="0" algn="ctr"/>
              <a:r>
                <a:rPr lang="zh-CN" altLang="en-US" sz="1200" dirty="0">
                  <a:solidFill>
                    <a:schemeClr val="bg1"/>
                  </a:solidFill>
                </a:rPr>
                <a:t>单击此处添加文本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1586145" y="1204998"/>
            <a:ext cx="1689713" cy="327719"/>
            <a:chOff x="928192" y="1510651"/>
            <a:chExt cx="2252950" cy="436959"/>
          </a:xfrm>
        </p:grpSpPr>
        <p:sp>
          <p:nvSpPr>
            <p:cNvPr id="20" name="矩形 3"/>
            <p:cNvSpPr/>
            <p:nvPr/>
          </p:nvSpPr>
          <p:spPr>
            <a:xfrm rot="5400000" flipH="1" flipV="1">
              <a:off x="1849649" y="589194"/>
              <a:ext cx="410035" cy="2252950"/>
            </a:xfrm>
            <a:custGeom>
              <a:avLst/>
              <a:gdLst/>
              <a:ahLst/>
              <a:cxnLst/>
              <a:rect l="l" t="t" r="r" b="b"/>
              <a:pathLst>
                <a:path w="280750" h="1542591">
                  <a:moveTo>
                    <a:pt x="280750" y="1391049"/>
                  </a:moveTo>
                  <a:lnTo>
                    <a:pt x="280750" y="151543"/>
                  </a:lnTo>
                  <a:lnTo>
                    <a:pt x="280733" y="151543"/>
                  </a:lnTo>
                  <a:cubicBezTo>
                    <a:pt x="280668" y="100709"/>
                    <a:pt x="280191" y="44276"/>
                    <a:pt x="280591" y="0"/>
                  </a:cubicBezTo>
                  <a:lnTo>
                    <a:pt x="140374" y="102981"/>
                  </a:lnTo>
                  <a:lnTo>
                    <a:pt x="158" y="0"/>
                  </a:lnTo>
                  <a:lnTo>
                    <a:pt x="158" y="151543"/>
                  </a:lnTo>
                  <a:lnTo>
                    <a:pt x="0" y="151543"/>
                  </a:lnTo>
                  <a:lnTo>
                    <a:pt x="0" y="1391049"/>
                  </a:lnTo>
                  <a:lnTo>
                    <a:pt x="158" y="1391049"/>
                  </a:lnTo>
                  <a:lnTo>
                    <a:pt x="158" y="1436588"/>
                  </a:lnTo>
                  <a:lnTo>
                    <a:pt x="138730" y="1542591"/>
                  </a:lnTo>
                  <a:lnTo>
                    <a:pt x="280591" y="1444187"/>
                  </a:lnTo>
                  <a:cubicBezTo>
                    <a:pt x="280728" y="1429030"/>
                    <a:pt x="280763" y="1412448"/>
                    <a:pt x="280745" y="1395154"/>
                  </a:cubicBezTo>
                  <a:lnTo>
                    <a:pt x="280733" y="1391049"/>
                  </a:lnTo>
                  <a:close/>
                </a:path>
              </a:pathLst>
            </a:cu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971600" y="1547500"/>
              <a:ext cx="21089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350" b="1" dirty="0">
                  <a:solidFill>
                    <a:schemeClr val="bg1"/>
                  </a:solidFill>
                </a:rPr>
                <a:t>单击添加标题</a:t>
              </a:r>
            </a:p>
          </p:txBody>
        </p:sp>
      </p:grpSp>
      <p:sp>
        <p:nvSpPr>
          <p:cNvPr id="9" name="矩形 8"/>
          <p:cNvSpPr/>
          <p:nvPr/>
        </p:nvSpPr>
        <p:spPr>
          <a:xfrm>
            <a:off x="1564695" y="1626594"/>
            <a:ext cx="168971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</a:p>
        </p:txBody>
      </p:sp>
      <p:sp>
        <p:nvSpPr>
          <p:cNvPr id="11" name="矩形 10"/>
          <p:cNvSpPr/>
          <p:nvPr/>
        </p:nvSpPr>
        <p:spPr>
          <a:xfrm>
            <a:off x="6050643" y="1185596"/>
            <a:ext cx="168971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</a:p>
        </p:txBody>
      </p:sp>
      <p:cxnSp>
        <p:nvCxnSpPr>
          <p:cNvPr id="15" name="直接连接符 14"/>
          <p:cNvCxnSpPr/>
          <p:nvPr/>
        </p:nvCxnSpPr>
        <p:spPr>
          <a:xfrm>
            <a:off x="899592" y="3723878"/>
            <a:ext cx="7560840" cy="0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椭圆 15"/>
          <p:cNvSpPr/>
          <p:nvPr/>
        </p:nvSpPr>
        <p:spPr>
          <a:xfrm>
            <a:off x="1403648" y="3973766"/>
            <a:ext cx="437794" cy="437794"/>
          </a:xfrm>
          <a:prstGeom prst="ellipse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5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Freeform 14"/>
          <p:cNvSpPr>
            <a:spLocks noEditPoints="1"/>
          </p:cNvSpPr>
          <p:nvPr/>
        </p:nvSpPr>
        <p:spPr bwMode="auto">
          <a:xfrm>
            <a:off x="1519791" y="4083919"/>
            <a:ext cx="205508" cy="217487"/>
          </a:xfrm>
          <a:custGeom>
            <a:avLst/>
            <a:gdLst>
              <a:gd name="T0" fmla="*/ 0 w 383"/>
              <a:gd name="T1" fmla="*/ 378 h 405"/>
              <a:gd name="T2" fmla="*/ 0 w 383"/>
              <a:gd name="T3" fmla="*/ 163 h 405"/>
              <a:gd name="T4" fmla="*/ 39 w 383"/>
              <a:gd name="T5" fmla="*/ 163 h 405"/>
              <a:gd name="T6" fmla="*/ 39 w 383"/>
              <a:gd name="T7" fmla="*/ 378 h 405"/>
              <a:gd name="T8" fmla="*/ 0 w 383"/>
              <a:gd name="T9" fmla="*/ 378 h 405"/>
              <a:gd name="T10" fmla="*/ 357 w 383"/>
              <a:gd name="T11" fmla="*/ 158 h 405"/>
              <a:gd name="T12" fmla="*/ 263 w 383"/>
              <a:gd name="T13" fmla="*/ 156 h 405"/>
              <a:gd name="T14" fmla="*/ 286 w 383"/>
              <a:gd name="T15" fmla="*/ 97 h 405"/>
              <a:gd name="T16" fmla="*/ 260 w 383"/>
              <a:gd name="T17" fmla="*/ 0 h 405"/>
              <a:gd name="T18" fmla="*/ 233 w 383"/>
              <a:gd name="T19" fmla="*/ 26 h 405"/>
              <a:gd name="T20" fmla="*/ 131 w 383"/>
              <a:gd name="T21" fmla="*/ 145 h 405"/>
              <a:gd name="T22" fmla="*/ 59 w 383"/>
              <a:gd name="T23" fmla="*/ 185 h 405"/>
              <a:gd name="T24" fmla="*/ 59 w 383"/>
              <a:gd name="T25" fmla="*/ 364 h 405"/>
              <a:gd name="T26" fmla="*/ 162 w 383"/>
              <a:gd name="T27" fmla="*/ 405 h 405"/>
              <a:gd name="T28" fmla="*/ 276 w 383"/>
              <a:gd name="T29" fmla="*/ 403 h 405"/>
              <a:gd name="T30" fmla="*/ 305 w 383"/>
              <a:gd name="T31" fmla="*/ 377 h 405"/>
              <a:gd name="T32" fmla="*/ 291 w 383"/>
              <a:gd name="T33" fmla="*/ 351 h 405"/>
              <a:gd name="T34" fmla="*/ 291 w 383"/>
              <a:gd name="T35" fmla="*/ 351 h 405"/>
              <a:gd name="T36" fmla="*/ 290 w 383"/>
              <a:gd name="T37" fmla="*/ 351 h 405"/>
              <a:gd name="T38" fmla="*/ 286 w 383"/>
              <a:gd name="T39" fmla="*/ 346 h 405"/>
              <a:gd name="T40" fmla="*/ 291 w 383"/>
              <a:gd name="T41" fmla="*/ 340 h 405"/>
              <a:gd name="T42" fmla="*/ 302 w 383"/>
              <a:gd name="T43" fmla="*/ 340 h 405"/>
              <a:gd name="T44" fmla="*/ 331 w 383"/>
              <a:gd name="T45" fmla="*/ 314 h 405"/>
              <a:gd name="T46" fmla="*/ 317 w 383"/>
              <a:gd name="T47" fmla="*/ 288 h 405"/>
              <a:gd name="T48" fmla="*/ 317 w 383"/>
              <a:gd name="T49" fmla="*/ 288 h 405"/>
              <a:gd name="T50" fmla="*/ 316 w 383"/>
              <a:gd name="T51" fmla="*/ 287 h 405"/>
              <a:gd name="T52" fmla="*/ 312 w 383"/>
              <a:gd name="T53" fmla="*/ 282 h 405"/>
              <a:gd name="T54" fmla="*/ 317 w 383"/>
              <a:gd name="T55" fmla="*/ 277 h 405"/>
              <a:gd name="T56" fmla="*/ 328 w 383"/>
              <a:gd name="T57" fmla="*/ 276 h 405"/>
              <a:gd name="T58" fmla="*/ 357 w 383"/>
              <a:gd name="T59" fmla="*/ 250 h 405"/>
              <a:gd name="T60" fmla="*/ 343 w 383"/>
              <a:gd name="T61" fmla="*/ 225 h 405"/>
              <a:gd name="T62" fmla="*/ 343 w 383"/>
              <a:gd name="T63" fmla="*/ 225 h 405"/>
              <a:gd name="T64" fmla="*/ 342 w 383"/>
              <a:gd name="T65" fmla="*/ 224 h 405"/>
              <a:gd name="T66" fmla="*/ 338 w 383"/>
              <a:gd name="T67" fmla="*/ 219 h 405"/>
              <a:gd name="T68" fmla="*/ 343 w 383"/>
              <a:gd name="T69" fmla="*/ 213 h 405"/>
              <a:gd name="T70" fmla="*/ 354 w 383"/>
              <a:gd name="T71" fmla="*/ 213 h 405"/>
              <a:gd name="T72" fmla="*/ 383 w 383"/>
              <a:gd name="T73" fmla="*/ 187 h 405"/>
              <a:gd name="T74" fmla="*/ 357 w 383"/>
              <a:gd name="T75" fmla="*/ 158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3" h="405">
                <a:moveTo>
                  <a:pt x="0" y="378"/>
                </a:moveTo>
                <a:cubicBezTo>
                  <a:pt x="0" y="163"/>
                  <a:pt x="0" y="163"/>
                  <a:pt x="0" y="163"/>
                </a:cubicBezTo>
                <a:cubicBezTo>
                  <a:pt x="39" y="163"/>
                  <a:pt x="39" y="163"/>
                  <a:pt x="39" y="163"/>
                </a:cubicBezTo>
                <a:cubicBezTo>
                  <a:pt x="39" y="378"/>
                  <a:pt x="39" y="378"/>
                  <a:pt x="39" y="378"/>
                </a:cubicBezTo>
                <a:cubicBezTo>
                  <a:pt x="0" y="378"/>
                  <a:pt x="0" y="378"/>
                  <a:pt x="0" y="378"/>
                </a:cubicBezTo>
                <a:close/>
                <a:moveTo>
                  <a:pt x="357" y="158"/>
                </a:moveTo>
                <a:cubicBezTo>
                  <a:pt x="357" y="158"/>
                  <a:pt x="309" y="157"/>
                  <a:pt x="263" y="156"/>
                </a:cubicBezTo>
                <a:cubicBezTo>
                  <a:pt x="271" y="137"/>
                  <a:pt x="281" y="113"/>
                  <a:pt x="286" y="97"/>
                </a:cubicBezTo>
                <a:cubicBezTo>
                  <a:pt x="295" y="65"/>
                  <a:pt x="299" y="1"/>
                  <a:pt x="260" y="0"/>
                </a:cubicBezTo>
                <a:cubicBezTo>
                  <a:pt x="245" y="0"/>
                  <a:pt x="233" y="11"/>
                  <a:pt x="233" y="26"/>
                </a:cubicBezTo>
                <a:cubicBezTo>
                  <a:pt x="233" y="83"/>
                  <a:pt x="197" y="131"/>
                  <a:pt x="131" y="145"/>
                </a:cubicBezTo>
                <a:cubicBezTo>
                  <a:pt x="100" y="152"/>
                  <a:pt x="69" y="169"/>
                  <a:pt x="59" y="185"/>
                </a:cubicBezTo>
                <a:cubicBezTo>
                  <a:pt x="59" y="223"/>
                  <a:pt x="59" y="364"/>
                  <a:pt x="59" y="364"/>
                </a:cubicBezTo>
                <a:cubicBezTo>
                  <a:pt x="59" y="364"/>
                  <a:pt x="127" y="405"/>
                  <a:pt x="162" y="405"/>
                </a:cubicBezTo>
                <a:cubicBezTo>
                  <a:pt x="163" y="405"/>
                  <a:pt x="276" y="403"/>
                  <a:pt x="276" y="403"/>
                </a:cubicBezTo>
                <a:cubicBezTo>
                  <a:pt x="291" y="404"/>
                  <a:pt x="304" y="392"/>
                  <a:pt x="305" y="377"/>
                </a:cubicBezTo>
                <a:cubicBezTo>
                  <a:pt x="305" y="366"/>
                  <a:pt x="300" y="356"/>
                  <a:pt x="291" y="351"/>
                </a:cubicBezTo>
                <a:cubicBezTo>
                  <a:pt x="291" y="351"/>
                  <a:pt x="291" y="351"/>
                  <a:pt x="291" y="351"/>
                </a:cubicBezTo>
                <a:cubicBezTo>
                  <a:pt x="290" y="351"/>
                  <a:pt x="290" y="351"/>
                  <a:pt x="290" y="351"/>
                </a:cubicBezTo>
                <a:cubicBezTo>
                  <a:pt x="287" y="350"/>
                  <a:pt x="286" y="348"/>
                  <a:pt x="286" y="346"/>
                </a:cubicBezTo>
                <a:cubicBezTo>
                  <a:pt x="286" y="342"/>
                  <a:pt x="288" y="340"/>
                  <a:pt x="291" y="340"/>
                </a:cubicBezTo>
                <a:cubicBezTo>
                  <a:pt x="302" y="340"/>
                  <a:pt x="302" y="340"/>
                  <a:pt x="302" y="340"/>
                </a:cubicBezTo>
                <a:cubicBezTo>
                  <a:pt x="317" y="340"/>
                  <a:pt x="330" y="329"/>
                  <a:pt x="331" y="314"/>
                </a:cubicBezTo>
                <a:cubicBezTo>
                  <a:pt x="331" y="303"/>
                  <a:pt x="326" y="293"/>
                  <a:pt x="317" y="288"/>
                </a:cubicBezTo>
                <a:cubicBezTo>
                  <a:pt x="317" y="288"/>
                  <a:pt x="317" y="288"/>
                  <a:pt x="317" y="288"/>
                </a:cubicBezTo>
                <a:cubicBezTo>
                  <a:pt x="316" y="288"/>
                  <a:pt x="316" y="288"/>
                  <a:pt x="316" y="287"/>
                </a:cubicBezTo>
                <a:cubicBezTo>
                  <a:pt x="313" y="287"/>
                  <a:pt x="312" y="285"/>
                  <a:pt x="312" y="282"/>
                </a:cubicBezTo>
                <a:cubicBezTo>
                  <a:pt x="312" y="279"/>
                  <a:pt x="314" y="277"/>
                  <a:pt x="317" y="277"/>
                </a:cubicBezTo>
                <a:cubicBezTo>
                  <a:pt x="328" y="276"/>
                  <a:pt x="328" y="276"/>
                  <a:pt x="328" y="276"/>
                </a:cubicBezTo>
                <a:cubicBezTo>
                  <a:pt x="343" y="277"/>
                  <a:pt x="356" y="265"/>
                  <a:pt x="357" y="250"/>
                </a:cubicBezTo>
                <a:cubicBezTo>
                  <a:pt x="357" y="239"/>
                  <a:pt x="352" y="229"/>
                  <a:pt x="343" y="225"/>
                </a:cubicBezTo>
                <a:cubicBezTo>
                  <a:pt x="343" y="225"/>
                  <a:pt x="343" y="225"/>
                  <a:pt x="343" y="225"/>
                </a:cubicBezTo>
                <a:cubicBezTo>
                  <a:pt x="342" y="224"/>
                  <a:pt x="342" y="224"/>
                  <a:pt x="342" y="224"/>
                </a:cubicBezTo>
                <a:cubicBezTo>
                  <a:pt x="339" y="223"/>
                  <a:pt x="338" y="221"/>
                  <a:pt x="338" y="219"/>
                </a:cubicBezTo>
                <a:cubicBezTo>
                  <a:pt x="338" y="216"/>
                  <a:pt x="340" y="213"/>
                  <a:pt x="343" y="213"/>
                </a:cubicBezTo>
                <a:cubicBezTo>
                  <a:pt x="354" y="213"/>
                  <a:pt x="354" y="213"/>
                  <a:pt x="354" y="213"/>
                </a:cubicBezTo>
                <a:cubicBezTo>
                  <a:pt x="369" y="214"/>
                  <a:pt x="382" y="202"/>
                  <a:pt x="383" y="187"/>
                </a:cubicBezTo>
                <a:cubicBezTo>
                  <a:pt x="383" y="172"/>
                  <a:pt x="374" y="159"/>
                  <a:pt x="357" y="158"/>
                </a:cubicBezTo>
                <a:close/>
              </a:path>
            </a:pathLst>
          </a:custGeom>
          <a:solidFill>
            <a:srgbClr val="FFFFFF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1437" tIns="25719" rIns="51437" bIns="25719" numCol="1" rtlCol="0" anchor="ctr" anchorCtr="0" compatLnSpc="1"/>
          <a:lstStyle/>
          <a:p>
            <a:pPr defTabSz="462915">
              <a:defRPr/>
            </a:pPr>
            <a:endParaRPr lang="en-US" sz="1275" kern="0" spc="-76" dirty="0">
              <a:latin typeface="Segoe UI Light" panose="020B0502040204020203" pitchFamily="34" charset="0"/>
            </a:endParaRPr>
          </a:p>
        </p:txBody>
      </p:sp>
      <p:sp>
        <p:nvSpPr>
          <p:cNvPr id="18" name="Rectangle 12"/>
          <p:cNvSpPr>
            <a:spLocks noChangeArrowheads="1"/>
          </p:cNvSpPr>
          <p:nvPr/>
        </p:nvSpPr>
        <p:spPr bwMode="auto">
          <a:xfrm>
            <a:off x="1907704" y="3815390"/>
            <a:ext cx="6048672" cy="738664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wrap="square">
            <a:spAutoFit/>
          </a:bodyPr>
          <a:lstStyle/>
          <a:p>
            <a:pPr indent="-90805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  <a:ea typeface="+mj-ea"/>
              </a:rPr>
              <a:t>单击此处添加文本，单击此处添加文本，单击此处添加文本。</a:t>
            </a:r>
            <a:endParaRPr lang="en-US" altLang="zh-CN" sz="1400" dirty="0">
              <a:latin typeface="+mj-ea"/>
              <a:ea typeface="+mj-ea"/>
            </a:endParaRPr>
          </a:p>
          <a:p>
            <a:pPr indent="-90805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</a:rPr>
              <a:t>单击此处添加文本，单击此处添加文本，单击此处添加文本。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6050641" y="3012026"/>
            <a:ext cx="1689713" cy="321853"/>
            <a:chOff x="5858456" y="3920029"/>
            <a:chExt cx="2252950" cy="429138"/>
          </a:xfrm>
        </p:grpSpPr>
        <p:sp>
          <p:nvSpPr>
            <p:cNvPr id="21" name="矩形 3"/>
            <p:cNvSpPr/>
            <p:nvPr/>
          </p:nvSpPr>
          <p:spPr>
            <a:xfrm rot="16200000" flipV="1">
              <a:off x="6779913" y="2998572"/>
              <a:ext cx="410035" cy="2252950"/>
            </a:xfrm>
            <a:custGeom>
              <a:avLst/>
              <a:gdLst/>
              <a:ahLst/>
              <a:cxnLst/>
              <a:rect l="l" t="t" r="r" b="b"/>
              <a:pathLst>
                <a:path w="280750" h="1542591">
                  <a:moveTo>
                    <a:pt x="280750" y="1391049"/>
                  </a:moveTo>
                  <a:lnTo>
                    <a:pt x="280750" y="151543"/>
                  </a:lnTo>
                  <a:lnTo>
                    <a:pt x="280733" y="151543"/>
                  </a:lnTo>
                  <a:cubicBezTo>
                    <a:pt x="280668" y="100709"/>
                    <a:pt x="280191" y="44276"/>
                    <a:pt x="280591" y="0"/>
                  </a:cubicBezTo>
                  <a:lnTo>
                    <a:pt x="140374" y="102981"/>
                  </a:lnTo>
                  <a:lnTo>
                    <a:pt x="158" y="0"/>
                  </a:lnTo>
                  <a:lnTo>
                    <a:pt x="158" y="151543"/>
                  </a:lnTo>
                  <a:lnTo>
                    <a:pt x="0" y="151543"/>
                  </a:lnTo>
                  <a:lnTo>
                    <a:pt x="0" y="1391049"/>
                  </a:lnTo>
                  <a:lnTo>
                    <a:pt x="158" y="1391049"/>
                  </a:lnTo>
                  <a:lnTo>
                    <a:pt x="158" y="1436588"/>
                  </a:lnTo>
                  <a:lnTo>
                    <a:pt x="138730" y="1542591"/>
                  </a:lnTo>
                  <a:lnTo>
                    <a:pt x="280591" y="1444187"/>
                  </a:lnTo>
                  <a:cubicBezTo>
                    <a:pt x="280728" y="1429030"/>
                    <a:pt x="280763" y="1412448"/>
                    <a:pt x="280745" y="1395154"/>
                  </a:cubicBezTo>
                  <a:lnTo>
                    <a:pt x="280733" y="1391049"/>
                  </a:lnTo>
                  <a:close/>
                </a:path>
              </a:pathLst>
            </a:cu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930463" y="3949057"/>
              <a:ext cx="21089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350" b="1" dirty="0">
                  <a:solidFill>
                    <a:schemeClr val="bg1"/>
                  </a:solidFill>
                </a:rPr>
                <a:t>单击添加标题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35">
        <p:fade/>
      </p:transition>
    </mc:Choice>
    <mc:Fallback xmlns="">
      <p:transition spd="med" advTm="383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6" grpId="0" animBg="1"/>
      <p:bldP spid="17" grpId="0" animBg="1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目录页</a:t>
            </a:r>
            <a:endParaRPr lang="zh-CN" altLang="en-US" dirty="0"/>
          </a:p>
        </p:txBody>
      </p:sp>
      <p:grpSp>
        <p:nvGrpSpPr>
          <p:cNvPr id="2056" name="组合 2055"/>
          <p:cNvGrpSpPr/>
          <p:nvPr/>
        </p:nvGrpSpPr>
        <p:grpSpPr>
          <a:xfrm>
            <a:off x="1801643" y="914829"/>
            <a:ext cx="3634454" cy="449074"/>
            <a:chOff x="1729634" y="1221616"/>
            <a:chExt cx="3634454" cy="449074"/>
          </a:xfrm>
        </p:grpSpPr>
        <p:sp>
          <p:nvSpPr>
            <p:cNvPr id="2049" name="五边形 2048"/>
            <p:cNvSpPr/>
            <p:nvPr/>
          </p:nvSpPr>
          <p:spPr>
            <a:xfrm>
              <a:off x="1729634" y="1221616"/>
              <a:ext cx="3634454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2055" name="TextBox 2054"/>
            <p:cNvSpPr txBox="1"/>
            <p:nvPr/>
          </p:nvSpPr>
          <p:spPr>
            <a:xfrm>
              <a:off x="2627784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48" name="组合 2047"/>
          <p:cNvGrpSpPr/>
          <p:nvPr/>
        </p:nvGrpSpPr>
        <p:grpSpPr>
          <a:xfrm>
            <a:off x="1445808" y="701150"/>
            <a:ext cx="862488" cy="862488"/>
            <a:chOff x="1729634" y="987574"/>
            <a:chExt cx="898150" cy="898150"/>
          </a:xfrm>
        </p:grpSpPr>
        <p:sp>
          <p:nvSpPr>
            <p:cNvPr id="25" name="椭圆 24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053" name="Picture 5" descr="E:\1PPT制作\PPT市场\医疗\1.pn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1959192" y="1104576"/>
              <a:ext cx="58729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1" name="组合 180"/>
          <p:cNvGrpSpPr/>
          <p:nvPr/>
        </p:nvGrpSpPr>
        <p:grpSpPr>
          <a:xfrm>
            <a:off x="1865827" y="1828698"/>
            <a:ext cx="4290350" cy="449074"/>
            <a:chOff x="1729634" y="1221616"/>
            <a:chExt cx="4290350" cy="449074"/>
          </a:xfrm>
        </p:grpSpPr>
        <p:sp>
          <p:nvSpPr>
            <p:cNvPr id="182" name="五边形 181"/>
            <p:cNvSpPr/>
            <p:nvPr/>
          </p:nvSpPr>
          <p:spPr>
            <a:xfrm>
              <a:off x="1729634" y="1221616"/>
              <a:ext cx="4290350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3211672" y="1269806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4" name="组合 183"/>
          <p:cNvGrpSpPr/>
          <p:nvPr/>
        </p:nvGrpSpPr>
        <p:grpSpPr>
          <a:xfrm>
            <a:off x="1914368" y="2775741"/>
            <a:ext cx="4961890" cy="449074"/>
            <a:chOff x="1729634" y="1221616"/>
            <a:chExt cx="4961890" cy="449074"/>
          </a:xfrm>
        </p:grpSpPr>
        <p:sp>
          <p:nvSpPr>
            <p:cNvPr id="185" name="五边形 184"/>
            <p:cNvSpPr/>
            <p:nvPr/>
          </p:nvSpPr>
          <p:spPr>
            <a:xfrm>
              <a:off x="1729634" y="1221616"/>
              <a:ext cx="4961890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3854587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7" name="组合 186"/>
          <p:cNvGrpSpPr/>
          <p:nvPr/>
        </p:nvGrpSpPr>
        <p:grpSpPr>
          <a:xfrm>
            <a:off x="1914368" y="3688769"/>
            <a:ext cx="5609961" cy="449074"/>
            <a:chOff x="1729633" y="1221616"/>
            <a:chExt cx="5609961" cy="449074"/>
          </a:xfrm>
        </p:grpSpPr>
        <p:sp>
          <p:nvSpPr>
            <p:cNvPr id="188" name="五边形 187"/>
            <p:cNvSpPr/>
            <p:nvPr/>
          </p:nvSpPr>
          <p:spPr>
            <a:xfrm>
              <a:off x="1729633" y="1221616"/>
              <a:ext cx="5609961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89" name="TextBox 188"/>
            <p:cNvSpPr txBox="1"/>
            <p:nvPr/>
          </p:nvSpPr>
          <p:spPr>
            <a:xfrm>
              <a:off x="4603291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1445808" y="3523579"/>
            <a:ext cx="862488" cy="862488"/>
            <a:chOff x="1729634" y="987574"/>
            <a:chExt cx="898150" cy="898150"/>
          </a:xfrm>
        </p:grpSpPr>
        <p:sp>
          <p:nvSpPr>
            <p:cNvPr id="173" name="椭圆 172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74" name="Picture 5"/>
            <p:cNvPicPr>
              <a:picLocks noChangeAspect="1" noChangeArrowheads="1"/>
            </p:cNvPicPr>
            <p:nvPr/>
          </p:nvPicPr>
          <p:blipFill>
            <a:blip r:embed="rId4" cstate="screen"/>
            <a:stretch>
              <a:fillRect/>
            </a:stretch>
          </p:blipFill>
          <p:spPr bwMode="auto">
            <a:xfrm>
              <a:off x="1966012" y="1104576"/>
              <a:ext cx="57365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5" name="组合 174"/>
          <p:cNvGrpSpPr/>
          <p:nvPr/>
        </p:nvGrpSpPr>
        <p:grpSpPr>
          <a:xfrm>
            <a:off x="1445808" y="1641960"/>
            <a:ext cx="862488" cy="862488"/>
            <a:chOff x="1729634" y="987574"/>
            <a:chExt cx="898150" cy="898150"/>
          </a:xfrm>
        </p:grpSpPr>
        <p:sp>
          <p:nvSpPr>
            <p:cNvPr id="176" name="椭圆 175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77" name="Picture 5"/>
            <p:cNvPicPr>
              <a:picLocks noChangeAspect="1" noChangeArrowheads="1"/>
            </p:cNvPicPr>
            <p:nvPr/>
          </p:nvPicPr>
          <p:blipFill>
            <a:blip r:embed="rId5" cstate="screen"/>
            <a:stretch>
              <a:fillRect/>
            </a:stretch>
          </p:blipFill>
          <p:spPr bwMode="auto">
            <a:xfrm>
              <a:off x="1804198" y="1158695"/>
              <a:ext cx="747227" cy="534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8" name="组合 177"/>
          <p:cNvGrpSpPr/>
          <p:nvPr/>
        </p:nvGrpSpPr>
        <p:grpSpPr>
          <a:xfrm>
            <a:off x="1445808" y="2582770"/>
            <a:ext cx="862488" cy="862488"/>
            <a:chOff x="1729634" y="987574"/>
            <a:chExt cx="898150" cy="898150"/>
          </a:xfrm>
        </p:grpSpPr>
        <p:sp>
          <p:nvSpPr>
            <p:cNvPr id="179" name="椭圆 178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80" name="Picture 5"/>
            <p:cNvPicPr>
              <a:picLocks noChangeAspect="1" noChangeArrowheads="1"/>
            </p:cNvPicPr>
            <p:nvPr/>
          </p:nvPicPr>
          <p:blipFill>
            <a:blip r:embed="rId6" cstate="screen"/>
            <a:stretch>
              <a:fillRect/>
            </a:stretch>
          </p:blipFill>
          <p:spPr bwMode="auto">
            <a:xfrm>
              <a:off x="1900597" y="1032892"/>
              <a:ext cx="556223" cy="707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215">
        <p:fade/>
      </p:transition>
    </mc:Choice>
    <mc:Fallback xmlns="">
      <p:transition spd="med" advTm="321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500" fill="hold"/>
                                        <p:tgtEl>
                                          <p:spTgt spid="20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21600000">
                                      <p:cBhvr>
                                        <p:cTn id="16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21600000">
                                      <p:cBhvr>
                                        <p:cTn id="22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8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21600000">
                                      <p:cBhvr>
                                        <p:cTn id="28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29" name="组合 28"/>
          <p:cNvGrpSpPr/>
          <p:nvPr/>
        </p:nvGrpSpPr>
        <p:grpSpPr>
          <a:xfrm>
            <a:off x="1264206" y="1149898"/>
            <a:ext cx="3457366" cy="464529"/>
            <a:chOff x="161608" y="1701214"/>
            <a:chExt cx="4609821" cy="619372"/>
          </a:xfrm>
        </p:grpSpPr>
        <p:sp>
          <p:nvSpPr>
            <p:cNvPr id="4" name="TextBox 3"/>
            <p:cNvSpPr txBox="1"/>
            <p:nvPr>
              <p:custDataLst>
                <p:tags r:id="rId19"/>
              </p:custDataLst>
            </p:nvPr>
          </p:nvSpPr>
          <p:spPr>
            <a:xfrm>
              <a:off x="161608" y="1701214"/>
              <a:ext cx="4609821" cy="619372"/>
            </a:xfrm>
            <a:prstGeom prst="rect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>
              <a:defPPr>
                <a:defRPr lang="en-US"/>
              </a:defPPr>
              <a:lvl1pPr algn="ctr" defTabSz="914400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" name="TextBox 4"/>
            <p:cNvSpPr txBox="1"/>
            <p:nvPr>
              <p:custDataLst>
                <p:tags r:id="rId20"/>
              </p:custDataLst>
            </p:nvPr>
          </p:nvSpPr>
          <p:spPr>
            <a:xfrm>
              <a:off x="478469" y="1803305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1709684" y="1703470"/>
            <a:ext cx="1121131" cy="1270653"/>
            <a:chOff x="755576" y="2439310"/>
            <a:chExt cx="1494841" cy="1694204"/>
          </a:xfrm>
        </p:grpSpPr>
        <p:grpSp>
          <p:nvGrpSpPr>
            <p:cNvPr id="3" name="组合 2"/>
            <p:cNvGrpSpPr/>
            <p:nvPr/>
          </p:nvGrpSpPr>
          <p:grpSpPr>
            <a:xfrm>
              <a:off x="755576" y="2439310"/>
              <a:ext cx="1494841" cy="1694204"/>
              <a:chOff x="755576" y="2439310"/>
              <a:chExt cx="1494841" cy="1694204"/>
            </a:xfrm>
          </p:grpSpPr>
          <p:sp>
            <p:nvSpPr>
              <p:cNvPr id="6" name="Right Triangle 40"/>
              <p:cNvSpPr/>
              <p:nvPr>
                <p:custDataLst>
                  <p:tags r:id="rId17"/>
                </p:custDataLst>
              </p:nvPr>
            </p:nvSpPr>
            <p:spPr bwMode="auto">
              <a:xfrm rot="10800000" flipV="1">
                <a:off x="1344297" y="2439310"/>
                <a:ext cx="451948" cy="649688"/>
              </a:xfrm>
              <a:prstGeom prst="rtTriangle">
                <a:avLst/>
              </a:prstGeom>
              <a:solidFill>
                <a:srgbClr val="27809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56" tIns="34978" rIns="69956" bIns="34978" numCol="1" rtlCol="0" anchor="ctr" anchorCtr="0" compatLnSpc="1"/>
              <a:lstStyle/>
              <a:p>
                <a:pPr algn="ctr" defTabSz="699135"/>
                <a:endParaRPr lang="en-US" sz="15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7" name="Rectangle 47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755576" y="3088998"/>
                <a:ext cx="1494841" cy="1044516"/>
              </a:xfrm>
              <a:prstGeom prst="rect">
                <a:avLst/>
              </a:prstGeom>
              <a:solidFill>
                <a:srgbClr val="27809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56" tIns="34978" rIns="69956" bIns="34978" numCol="1" rtlCol="0" anchor="ctr" anchorCtr="0" compatLnSpc="1"/>
              <a:lstStyle/>
              <a:p>
                <a:pPr algn="ctr" defTabSz="699135"/>
                <a:endParaRPr lang="en-US" sz="15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8" name="TextBox 7"/>
            <p:cNvSpPr txBox="1"/>
            <p:nvPr>
              <p:custDataLst>
                <p:tags r:id="rId16"/>
              </p:custDataLst>
            </p:nvPr>
          </p:nvSpPr>
          <p:spPr>
            <a:xfrm>
              <a:off x="1209748" y="3238035"/>
              <a:ext cx="586499" cy="742377"/>
            </a:xfrm>
            <a:prstGeom prst="rect">
              <a:avLst/>
            </a:prstGeom>
            <a:noFill/>
          </p:spPr>
          <p:txBody>
            <a:bodyPr wrap="square" lIns="69959" tIns="69959" rIns="69959" bIns="69959" rtlCol="0">
              <a:spAutoFit/>
            </a:bodyPr>
            <a:lstStyle/>
            <a:p>
              <a:pPr algn="ctr">
                <a:buSzPct val="90000"/>
              </a:pPr>
              <a:r>
                <a:rPr lang="en-US" sz="27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1</a:t>
              </a: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4754662" y="1146007"/>
            <a:ext cx="3094975" cy="464529"/>
            <a:chOff x="4815546" y="1696027"/>
            <a:chExt cx="4126633" cy="619372"/>
          </a:xfrm>
        </p:grpSpPr>
        <p:sp>
          <p:nvSpPr>
            <p:cNvPr id="10" name="TextBox 9"/>
            <p:cNvSpPr txBox="1"/>
            <p:nvPr>
              <p:custDataLst>
                <p:tags r:id="rId14"/>
              </p:custDataLst>
            </p:nvPr>
          </p:nvSpPr>
          <p:spPr>
            <a:xfrm>
              <a:off x="4815546" y="1696027"/>
              <a:ext cx="4126633" cy="619372"/>
            </a:xfrm>
            <a:prstGeom prst="rect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>
              <a:defPPr>
                <a:defRPr lang="en-US"/>
              </a:defPPr>
              <a:lvl1pPr algn="ctr" defTabSz="914400">
                <a:defRPr sz="2200">
                  <a:solidFill>
                    <a:srgbClr val="FFFFFF">
                      <a:alpha val="98824"/>
                    </a:srgb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" name="TextBox 10"/>
            <p:cNvSpPr txBox="1"/>
            <p:nvPr>
              <p:custDataLst>
                <p:tags r:id="rId15"/>
              </p:custDataLst>
            </p:nvPr>
          </p:nvSpPr>
          <p:spPr>
            <a:xfrm>
              <a:off x="4860033" y="1816202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altLang="zh-CN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822663" y="1703470"/>
            <a:ext cx="1460378" cy="1270653"/>
            <a:chOff x="4906217" y="2439310"/>
            <a:chExt cx="1947170" cy="1694204"/>
          </a:xfrm>
        </p:grpSpPr>
        <p:sp>
          <p:nvSpPr>
            <p:cNvPr id="12" name="Rectangle 48"/>
            <p:cNvSpPr/>
            <p:nvPr>
              <p:custDataLst>
                <p:tags r:id="rId11"/>
              </p:custDataLst>
            </p:nvPr>
          </p:nvSpPr>
          <p:spPr bwMode="auto">
            <a:xfrm>
              <a:off x="4906217" y="3088998"/>
              <a:ext cx="1947170" cy="1044516"/>
            </a:xfrm>
            <a:prstGeom prst="rect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/>
            <a:p>
              <a:pPr algn="ctr" defTabSz="699135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12"/>
              </p:custDataLst>
            </p:nvPr>
          </p:nvSpPr>
          <p:spPr>
            <a:xfrm>
              <a:off x="5586553" y="3226269"/>
              <a:ext cx="586498" cy="742377"/>
            </a:xfrm>
            <a:prstGeom prst="rect">
              <a:avLst/>
            </a:prstGeom>
            <a:noFill/>
          </p:spPr>
          <p:txBody>
            <a:bodyPr wrap="square" lIns="69959" tIns="69959" rIns="69959" bIns="69959" rtlCol="0">
              <a:spAutoFit/>
            </a:bodyPr>
            <a:lstStyle/>
            <a:p>
              <a:pPr algn="ctr">
                <a:buSzPct val="90000"/>
              </a:pPr>
              <a:r>
                <a:rPr lang="en-US" sz="27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3</a:t>
              </a:r>
            </a:p>
          </p:txBody>
        </p:sp>
        <p:sp>
          <p:nvSpPr>
            <p:cNvPr id="14" name="Right Triangle 59"/>
            <p:cNvSpPr/>
            <p:nvPr>
              <p:custDataLst>
                <p:tags r:id="rId13"/>
              </p:custDataLst>
            </p:nvPr>
          </p:nvSpPr>
          <p:spPr bwMode="auto">
            <a:xfrm rot="10800000" flipV="1">
              <a:off x="6228535" y="2439310"/>
              <a:ext cx="451948" cy="649688"/>
            </a:xfrm>
            <a:prstGeom prst="rtTriangle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/>
            <a:p>
              <a:pPr algn="ctr" defTabSz="699135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264206" y="3547382"/>
            <a:ext cx="3457366" cy="464529"/>
            <a:chOff x="161608" y="4897860"/>
            <a:chExt cx="4609821" cy="619372"/>
          </a:xfrm>
        </p:grpSpPr>
        <p:sp>
          <p:nvSpPr>
            <p:cNvPr id="18" name="TextBox 17"/>
            <p:cNvSpPr txBox="1"/>
            <p:nvPr>
              <p:custDataLst>
                <p:tags r:id="rId9"/>
              </p:custDataLst>
            </p:nvPr>
          </p:nvSpPr>
          <p:spPr>
            <a:xfrm>
              <a:off x="161608" y="4897860"/>
              <a:ext cx="4609821" cy="619372"/>
            </a:xfrm>
            <a:prstGeom prst="rect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>
              <a:defPPr>
                <a:defRPr lang="en-US"/>
              </a:defPPr>
              <a:lvl1pPr algn="ctr" defTabSz="914400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10"/>
              </p:custDataLst>
            </p:nvPr>
          </p:nvSpPr>
          <p:spPr>
            <a:xfrm>
              <a:off x="478469" y="5013583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altLang="zh-CN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2884870" y="2190736"/>
            <a:ext cx="1883737" cy="1270653"/>
            <a:chOff x="2322492" y="3088998"/>
            <a:chExt cx="2511649" cy="1694204"/>
          </a:xfrm>
        </p:grpSpPr>
        <p:grpSp>
          <p:nvGrpSpPr>
            <p:cNvPr id="9" name="组合 8"/>
            <p:cNvGrpSpPr/>
            <p:nvPr/>
          </p:nvGrpSpPr>
          <p:grpSpPr>
            <a:xfrm>
              <a:off x="2322492" y="3088998"/>
              <a:ext cx="2511649" cy="1044516"/>
              <a:chOff x="2322492" y="3088998"/>
              <a:chExt cx="2511649" cy="1044516"/>
            </a:xfrm>
          </p:grpSpPr>
          <p:sp>
            <p:nvSpPr>
              <p:cNvPr id="16" name="Rectangle 50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2322492" y="3088998"/>
                <a:ext cx="2511649" cy="1044516"/>
              </a:xfrm>
              <a:prstGeom prst="rect">
                <a:avLst/>
              </a:prstGeom>
              <a:solidFill>
                <a:srgbClr val="20B3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56" tIns="34978" rIns="69956" bIns="34978" numCol="1" rtlCol="0" anchor="ctr" anchorCtr="0" compatLnSpc="1"/>
              <a:lstStyle/>
              <a:p>
                <a:pPr algn="ctr" defTabSz="699135"/>
                <a:endParaRPr lang="en-US" sz="15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" name="TextBox 16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3285069" y="3238035"/>
                <a:ext cx="586499" cy="742377"/>
              </a:xfrm>
              <a:prstGeom prst="rect">
                <a:avLst/>
              </a:prstGeom>
              <a:noFill/>
            </p:spPr>
            <p:txBody>
              <a:bodyPr wrap="square" lIns="69959" tIns="69959" rIns="69959" bIns="69959" rtlCol="0">
                <a:spAutoFit/>
              </a:bodyPr>
              <a:lstStyle/>
              <a:p>
                <a:pPr algn="ctr">
                  <a:buSzPct val="90000"/>
                </a:pPr>
                <a:r>
                  <a:rPr lang="en-US" sz="27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2</a:t>
                </a:r>
              </a:p>
            </p:txBody>
          </p:sp>
        </p:grpSp>
        <p:sp>
          <p:nvSpPr>
            <p:cNvPr id="20" name="Right Triangle 60"/>
            <p:cNvSpPr/>
            <p:nvPr>
              <p:custDataLst>
                <p:tags r:id="rId6"/>
              </p:custDataLst>
            </p:nvPr>
          </p:nvSpPr>
          <p:spPr bwMode="auto">
            <a:xfrm flipV="1">
              <a:off x="3285067" y="4133514"/>
              <a:ext cx="451948" cy="649688"/>
            </a:xfrm>
            <a:prstGeom prst="rtTriangle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/>
            <a:p>
              <a:pPr algn="ctr" defTabSz="699135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754662" y="3547382"/>
            <a:ext cx="3094975" cy="464529"/>
            <a:chOff x="4815546" y="4897860"/>
            <a:chExt cx="4126633" cy="619372"/>
          </a:xfrm>
        </p:grpSpPr>
        <p:sp>
          <p:nvSpPr>
            <p:cNvPr id="24" name="TextBox 23"/>
            <p:cNvSpPr txBox="1"/>
            <p:nvPr>
              <p:custDataLst>
                <p:tags r:id="rId4"/>
              </p:custDataLst>
            </p:nvPr>
          </p:nvSpPr>
          <p:spPr>
            <a:xfrm>
              <a:off x="4815546" y="4897860"/>
              <a:ext cx="4126633" cy="619372"/>
            </a:xfrm>
            <a:prstGeom prst="rect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>
              <a:defPPr>
                <a:defRPr lang="en-US"/>
              </a:defPPr>
              <a:lvl1pPr algn="ctr" defTabSz="914400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5"/>
              </p:custDataLst>
            </p:nvPr>
          </p:nvSpPr>
          <p:spPr>
            <a:xfrm>
              <a:off x="4932041" y="5013583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altLang="zh-CN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391055" y="2193458"/>
            <a:ext cx="1121131" cy="1267931"/>
            <a:chOff x="6997403" y="3092627"/>
            <a:chExt cx="1494841" cy="1690575"/>
          </a:xfrm>
        </p:grpSpPr>
        <p:sp>
          <p:nvSpPr>
            <p:cNvPr id="22" name="Rectangle 51"/>
            <p:cNvSpPr/>
            <p:nvPr>
              <p:custDataLst>
                <p:tags r:id="rId1"/>
              </p:custDataLst>
            </p:nvPr>
          </p:nvSpPr>
          <p:spPr bwMode="auto">
            <a:xfrm>
              <a:off x="6997403" y="3092627"/>
              <a:ext cx="1494841" cy="1044516"/>
            </a:xfrm>
            <a:prstGeom prst="rect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/>
            <a:p>
              <a:pPr algn="ctr" defTabSz="699135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2"/>
              </p:custDataLst>
            </p:nvPr>
          </p:nvSpPr>
          <p:spPr>
            <a:xfrm>
              <a:off x="7451575" y="3241664"/>
              <a:ext cx="586499" cy="742377"/>
            </a:xfrm>
            <a:prstGeom prst="rect">
              <a:avLst/>
            </a:prstGeom>
            <a:noFill/>
          </p:spPr>
          <p:txBody>
            <a:bodyPr wrap="square" lIns="69959" tIns="69959" rIns="69959" bIns="69959" rtlCol="0">
              <a:spAutoFit/>
            </a:bodyPr>
            <a:lstStyle/>
            <a:p>
              <a:pPr algn="ctr">
                <a:buSzPct val="90000"/>
              </a:pPr>
              <a:r>
                <a:rPr lang="en-US" sz="27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4</a:t>
              </a:r>
            </a:p>
          </p:txBody>
        </p:sp>
        <p:sp>
          <p:nvSpPr>
            <p:cNvPr id="26" name="Right Triangle 61"/>
            <p:cNvSpPr/>
            <p:nvPr>
              <p:custDataLst>
                <p:tags r:id="rId3"/>
              </p:custDataLst>
            </p:nvPr>
          </p:nvSpPr>
          <p:spPr bwMode="auto">
            <a:xfrm flipV="1">
              <a:off x="7629668" y="4133514"/>
              <a:ext cx="451948" cy="649688"/>
            </a:xfrm>
            <a:prstGeom prst="rtTriangle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/>
            <a:lstStyle/>
            <a:p>
              <a:pPr algn="ctr" defTabSz="699135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964">
        <p:fade/>
      </p:transition>
    </mc:Choice>
    <mc:Fallback xmlns="">
      <p:transition spd="med" advTm="296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3219822"/>
            <a:ext cx="9144000" cy="1944216"/>
          </a:xfrm>
          <a:prstGeom prst="rect">
            <a:avLst/>
          </a:prstGeom>
          <a:gradFill flip="none" rotWithShape="1">
            <a:gsLst>
              <a:gs pos="0">
                <a:srgbClr val="2F9AB3"/>
              </a:gs>
              <a:gs pos="100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加号 3"/>
          <p:cNvSpPr/>
          <p:nvPr/>
        </p:nvSpPr>
        <p:spPr>
          <a:xfrm>
            <a:off x="251520" y="148377"/>
            <a:ext cx="1080120" cy="1080120"/>
          </a:xfrm>
          <a:prstGeom prst="mathPlus">
            <a:avLst/>
          </a:prstGeom>
          <a:noFill/>
          <a:ln>
            <a:solidFill>
              <a:srgbClr val="FF0000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加号 4"/>
          <p:cNvSpPr/>
          <p:nvPr/>
        </p:nvSpPr>
        <p:spPr>
          <a:xfrm>
            <a:off x="992340" y="879562"/>
            <a:ext cx="612068" cy="612068"/>
          </a:xfrm>
          <a:prstGeom prst="mathPlus">
            <a:avLst/>
          </a:prstGeom>
          <a:noFill/>
          <a:ln>
            <a:solidFill>
              <a:srgbClr val="FF0000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TextBox 6"/>
          <p:cNvSpPr txBox="1"/>
          <p:nvPr/>
        </p:nvSpPr>
        <p:spPr>
          <a:xfrm>
            <a:off x="920190" y="1674144"/>
            <a:ext cx="5380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600" b="1" dirty="0" smtClean="0">
                <a:latin typeface="Arial Unicode MS" pitchFamily="34" charset="-122"/>
              </a:rPr>
              <a:t>谢谢观赏</a:t>
            </a:r>
            <a:endParaRPr lang="zh-CN" altLang="en-US" sz="3600" b="1" dirty="0">
              <a:latin typeface="Arial Unicode MS" pitchFamily="34" charset="-122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screen"/>
          <a:stretch>
            <a:fillRect/>
          </a:stretch>
        </p:blipFill>
        <p:spPr bwMode="auto">
          <a:xfrm>
            <a:off x="4538019" y="483519"/>
            <a:ext cx="4604807" cy="526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组合 8"/>
          <p:cNvGrpSpPr/>
          <p:nvPr/>
        </p:nvGrpSpPr>
        <p:grpSpPr>
          <a:xfrm>
            <a:off x="1335848" y="3835706"/>
            <a:ext cx="3020128" cy="633223"/>
            <a:chOff x="1335848" y="3835705"/>
            <a:chExt cx="3020128" cy="633223"/>
          </a:xfrm>
        </p:grpSpPr>
        <p:pic>
          <p:nvPicPr>
            <p:cNvPr id="10" name="Picture 4" descr="C:\Users\md\Desktop\未命名 -1.png"/>
            <p:cNvPicPr>
              <a:picLocks noChangeAspect="1" noChangeArrowheads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1335848" y="3835705"/>
              <a:ext cx="631917" cy="633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矩形 10"/>
            <p:cNvSpPr/>
            <p:nvPr/>
          </p:nvSpPr>
          <p:spPr>
            <a:xfrm>
              <a:off x="1920955" y="3875318"/>
              <a:ext cx="243502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86">
        <p:fade/>
      </p:transition>
    </mc:Choice>
    <mc:Fallback xmlns="">
      <p:transition spd="med" advTm="148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过渡</a:t>
            </a:r>
            <a:r>
              <a:rPr lang="zh-CN" altLang="en-US" dirty="0" smtClean="0"/>
              <a:t>页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1801643" y="914829"/>
            <a:ext cx="3634454" cy="449074"/>
            <a:chOff x="1729634" y="1221616"/>
            <a:chExt cx="3634454" cy="449074"/>
          </a:xfrm>
        </p:grpSpPr>
        <p:sp>
          <p:nvSpPr>
            <p:cNvPr id="4" name="五边形 3"/>
            <p:cNvSpPr/>
            <p:nvPr/>
          </p:nvSpPr>
          <p:spPr>
            <a:xfrm>
              <a:off x="1729634" y="1221616"/>
              <a:ext cx="3634454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627784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445808" y="701150"/>
            <a:ext cx="862488" cy="862488"/>
            <a:chOff x="1729634" y="987574"/>
            <a:chExt cx="898150" cy="898150"/>
          </a:xfrm>
        </p:grpSpPr>
        <p:sp>
          <p:nvSpPr>
            <p:cNvPr id="7" name="椭圆 6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8" name="Picture 5" descr="E:\1PPT制作\PPT市场\医疗\1.pn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1959192" y="1104576"/>
              <a:ext cx="58729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组合 8"/>
          <p:cNvGrpSpPr/>
          <p:nvPr/>
        </p:nvGrpSpPr>
        <p:grpSpPr>
          <a:xfrm>
            <a:off x="1865827" y="1828698"/>
            <a:ext cx="4290350" cy="449074"/>
            <a:chOff x="1729634" y="1221616"/>
            <a:chExt cx="4290350" cy="449074"/>
          </a:xfrm>
        </p:grpSpPr>
        <p:sp>
          <p:nvSpPr>
            <p:cNvPr id="10" name="五边形 9"/>
            <p:cNvSpPr/>
            <p:nvPr/>
          </p:nvSpPr>
          <p:spPr>
            <a:xfrm>
              <a:off x="1729634" y="1221616"/>
              <a:ext cx="4290350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211672" y="1269806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914368" y="2775741"/>
            <a:ext cx="4961890" cy="449074"/>
            <a:chOff x="1729634" y="1221616"/>
            <a:chExt cx="4961890" cy="449074"/>
          </a:xfrm>
        </p:grpSpPr>
        <p:sp>
          <p:nvSpPr>
            <p:cNvPr id="13" name="五边形 12"/>
            <p:cNvSpPr/>
            <p:nvPr/>
          </p:nvSpPr>
          <p:spPr>
            <a:xfrm>
              <a:off x="1729634" y="1221616"/>
              <a:ext cx="4961890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854587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914368" y="3688769"/>
            <a:ext cx="5609961" cy="449074"/>
            <a:chOff x="1729633" y="1221616"/>
            <a:chExt cx="5609961" cy="449074"/>
          </a:xfrm>
        </p:grpSpPr>
        <p:sp>
          <p:nvSpPr>
            <p:cNvPr id="16" name="五边形 15"/>
            <p:cNvSpPr/>
            <p:nvPr/>
          </p:nvSpPr>
          <p:spPr>
            <a:xfrm>
              <a:off x="1729633" y="1221616"/>
              <a:ext cx="5609961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603291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 smtClean="0">
                  <a:solidFill>
                    <a:schemeClr val="bg1"/>
                  </a:solidFill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1445808" y="3523579"/>
            <a:ext cx="862488" cy="862488"/>
            <a:chOff x="1729634" y="987574"/>
            <a:chExt cx="898150" cy="898150"/>
          </a:xfrm>
        </p:grpSpPr>
        <p:sp>
          <p:nvSpPr>
            <p:cNvPr id="19" name="椭圆 18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0" name="Picture 5"/>
            <p:cNvPicPr>
              <a:picLocks noChangeAspect="1" noChangeArrowheads="1"/>
            </p:cNvPicPr>
            <p:nvPr/>
          </p:nvPicPr>
          <p:blipFill>
            <a:blip r:embed="rId4" cstate="screen"/>
            <a:stretch>
              <a:fillRect/>
            </a:stretch>
          </p:blipFill>
          <p:spPr bwMode="auto">
            <a:xfrm>
              <a:off x="1966012" y="1104576"/>
              <a:ext cx="57365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组合 20"/>
          <p:cNvGrpSpPr/>
          <p:nvPr/>
        </p:nvGrpSpPr>
        <p:grpSpPr>
          <a:xfrm>
            <a:off x="1445808" y="1641960"/>
            <a:ext cx="862488" cy="862488"/>
            <a:chOff x="1729634" y="987574"/>
            <a:chExt cx="898150" cy="898150"/>
          </a:xfrm>
        </p:grpSpPr>
        <p:sp>
          <p:nvSpPr>
            <p:cNvPr id="22" name="椭圆 21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4" name="Picture 5"/>
            <p:cNvPicPr>
              <a:picLocks noChangeAspect="1" noChangeArrowheads="1"/>
            </p:cNvPicPr>
            <p:nvPr/>
          </p:nvPicPr>
          <p:blipFill>
            <a:blip r:embed="rId5" cstate="screen"/>
            <a:stretch>
              <a:fillRect/>
            </a:stretch>
          </p:blipFill>
          <p:spPr bwMode="auto">
            <a:xfrm>
              <a:off x="1804198" y="1158695"/>
              <a:ext cx="747227" cy="534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组合 24"/>
          <p:cNvGrpSpPr/>
          <p:nvPr/>
        </p:nvGrpSpPr>
        <p:grpSpPr>
          <a:xfrm>
            <a:off x="1445808" y="2582770"/>
            <a:ext cx="862488" cy="862488"/>
            <a:chOff x="1729634" y="987574"/>
            <a:chExt cx="898150" cy="898150"/>
          </a:xfrm>
        </p:grpSpPr>
        <p:sp>
          <p:nvSpPr>
            <p:cNvPr id="26" name="椭圆 25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7" name="Picture 5"/>
            <p:cNvPicPr>
              <a:picLocks noChangeAspect="1" noChangeArrowheads="1"/>
            </p:cNvPicPr>
            <p:nvPr/>
          </p:nvPicPr>
          <p:blipFill>
            <a:blip r:embed="rId6" cstate="screen"/>
            <a:stretch>
              <a:fillRect/>
            </a:stretch>
          </p:blipFill>
          <p:spPr bwMode="auto">
            <a:xfrm>
              <a:off x="1900597" y="1032892"/>
              <a:ext cx="556223" cy="707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15">
        <p:fade/>
      </p:transition>
    </mc:Choice>
    <mc:Fallback xmlns="">
      <p:transition spd="med" advTm="171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Rounded Rectangle 133"/>
          <p:cNvSpPr/>
          <p:nvPr/>
        </p:nvSpPr>
        <p:spPr>
          <a:xfrm>
            <a:off x="827585" y="3342658"/>
            <a:ext cx="7416823" cy="955992"/>
          </a:xfrm>
          <a:prstGeom prst="roundRect">
            <a:avLst>
              <a:gd name="adj" fmla="val 9396"/>
            </a:avLst>
          </a:prstGeom>
          <a:solidFill>
            <a:srgbClr val="383838">
              <a:lumMod val="40000"/>
              <a:lumOff val="60000"/>
              <a:alpha val="55000"/>
            </a:srgbClr>
          </a:solidFill>
          <a:ln w="12700" cap="flat" cmpd="sng" algn="ctr">
            <a:noFill/>
            <a:prstDash val="solid"/>
          </a:ln>
          <a:effectLst>
            <a:reflection blurRad="6350" stA="52000" endA="300" endPos="35000" dir="5400000" sy="-100000" algn="bl" rotWithShape="0"/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3" name="组合 92"/>
          <p:cNvGrpSpPr/>
          <p:nvPr/>
        </p:nvGrpSpPr>
        <p:grpSpPr>
          <a:xfrm>
            <a:off x="2654327" y="779142"/>
            <a:ext cx="1887539" cy="1838238"/>
            <a:chOff x="2654327" y="779142"/>
            <a:chExt cx="1887539" cy="1838238"/>
          </a:xfrm>
        </p:grpSpPr>
        <p:grpSp>
          <p:nvGrpSpPr>
            <p:cNvPr id="92" name="组合 91"/>
            <p:cNvGrpSpPr/>
            <p:nvPr/>
          </p:nvGrpSpPr>
          <p:grpSpPr>
            <a:xfrm>
              <a:off x="2654327" y="779142"/>
              <a:ext cx="1866410" cy="1819456"/>
              <a:chOff x="2654327" y="779142"/>
              <a:chExt cx="1866410" cy="1819456"/>
            </a:xfrm>
          </p:grpSpPr>
          <p:sp>
            <p:nvSpPr>
              <p:cNvPr id="4" name="Freeform 14"/>
              <p:cNvSpPr/>
              <p:nvPr/>
            </p:nvSpPr>
            <p:spPr bwMode="auto">
              <a:xfrm flipV="1">
                <a:off x="2654327" y="779142"/>
                <a:ext cx="1866410" cy="1819456"/>
              </a:xfrm>
              <a:custGeom>
                <a:avLst/>
                <a:gdLst/>
                <a:ahLst/>
                <a:cxnLst>
                  <a:cxn ang="0">
                    <a:pos x="387" y="576"/>
                  </a:cxn>
                  <a:cxn ang="0">
                    <a:pos x="80" y="560"/>
                  </a:cxn>
                  <a:cxn ang="0">
                    <a:pos x="96" y="256"/>
                  </a:cxn>
                  <a:cxn ang="0">
                    <a:pos x="383" y="0"/>
                  </a:cxn>
                  <a:cxn ang="0">
                    <a:pos x="673" y="321"/>
                  </a:cxn>
                  <a:cxn ang="0">
                    <a:pos x="387" y="576"/>
                  </a:cxn>
                </a:cxnLst>
                <a:rect l="0" t="0" r="r" b="b"/>
                <a:pathLst>
                  <a:path w="673" h="656">
                    <a:moveTo>
                      <a:pt x="387" y="576"/>
                    </a:moveTo>
                    <a:cubicBezTo>
                      <a:pt x="298" y="656"/>
                      <a:pt x="160" y="648"/>
                      <a:pt x="80" y="560"/>
                    </a:cubicBezTo>
                    <a:cubicBezTo>
                      <a:pt x="0" y="472"/>
                      <a:pt x="7" y="335"/>
                      <a:pt x="96" y="256"/>
                    </a:cubicBezTo>
                    <a:cubicBezTo>
                      <a:pt x="383" y="0"/>
                      <a:pt x="383" y="0"/>
                      <a:pt x="383" y="0"/>
                    </a:cubicBezTo>
                    <a:cubicBezTo>
                      <a:pt x="673" y="321"/>
                      <a:pt x="673" y="321"/>
                      <a:pt x="673" y="321"/>
                    </a:cubicBezTo>
                    <a:lnTo>
                      <a:pt x="387" y="576"/>
                    </a:lnTo>
                    <a:close/>
                  </a:path>
                </a:pathLst>
              </a:custGeom>
              <a:gradFill flip="none" rotWithShape="1">
                <a:gsLst>
                  <a:gs pos="24000">
                    <a:srgbClr val="0070C0">
                      <a:lumMod val="50000"/>
                    </a:srgbClr>
                  </a:gs>
                  <a:gs pos="56000">
                    <a:srgbClr val="00B0F0">
                      <a:lumMod val="75000"/>
                      <a:shade val="67500"/>
                      <a:satMod val="115000"/>
                    </a:srgbClr>
                  </a:gs>
                  <a:gs pos="100000">
                    <a:srgbClr val="00B0F0">
                      <a:lumMod val="75000"/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83838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5" name="Freeform 15"/>
              <p:cNvSpPr/>
              <p:nvPr/>
            </p:nvSpPr>
            <p:spPr bwMode="auto">
              <a:xfrm flipV="1">
                <a:off x="2754103" y="1236940"/>
                <a:ext cx="1369875" cy="1275968"/>
              </a:xfrm>
              <a:custGeom>
                <a:avLst/>
                <a:gdLst/>
                <a:ahLst/>
                <a:cxnLst>
                  <a:cxn ang="0">
                    <a:pos x="228" y="369"/>
                  </a:cxn>
                  <a:cxn ang="0">
                    <a:pos x="32" y="424"/>
                  </a:cxn>
                  <a:cxn ang="0">
                    <a:pos x="109" y="237"/>
                  </a:cxn>
                  <a:cxn ang="0">
                    <a:pos x="374" y="0"/>
                  </a:cxn>
                  <a:cxn ang="0">
                    <a:pos x="494" y="132"/>
                  </a:cxn>
                  <a:cxn ang="0">
                    <a:pos x="228" y="369"/>
                  </a:cxn>
                </a:cxnLst>
                <a:rect l="0" t="0" r="r" b="b"/>
                <a:pathLst>
                  <a:path w="494" h="460">
                    <a:moveTo>
                      <a:pt x="228" y="369"/>
                    </a:moveTo>
                    <a:cubicBezTo>
                      <a:pt x="146" y="442"/>
                      <a:pt x="65" y="460"/>
                      <a:pt x="32" y="424"/>
                    </a:cubicBezTo>
                    <a:cubicBezTo>
                      <a:pt x="0" y="388"/>
                      <a:pt x="27" y="310"/>
                      <a:pt x="109" y="237"/>
                    </a:cubicBezTo>
                    <a:cubicBezTo>
                      <a:pt x="374" y="0"/>
                      <a:pt x="374" y="0"/>
                      <a:pt x="374" y="0"/>
                    </a:cubicBezTo>
                    <a:cubicBezTo>
                      <a:pt x="494" y="132"/>
                      <a:pt x="494" y="132"/>
                      <a:pt x="494" y="132"/>
                    </a:cubicBezTo>
                    <a:lnTo>
                      <a:pt x="228" y="369"/>
                    </a:lnTo>
                    <a:close/>
                  </a:path>
                </a:pathLst>
              </a:custGeom>
              <a:gradFill>
                <a:gsLst>
                  <a:gs pos="0">
                    <a:srgbClr val="0070C0">
                      <a:lumMod val="40000"/>
                      <a:lumOff val="60000"/>
                      <a:shade val="30000"/>
                      <a:satMod val="115000"/>
                      <a:alpha val="51000"/>
                    </a:srgbClr>
                  </a:gs>
                  <a:gs pos="50000">
                    <a:srgbClr val="0070C0">
                      <a:lumMod val="40000"/>
                      <a:lumOff val="60000"/>
                      <a:shade val="67500"/>
                      <a:satMod val="115000"/>
                      <a:alpha val="65000"/>
                    </a:srgbClr>
                  </a:gs>
                  <a:gs pos="100000">
                    <a:srgbClr val="0070C0">
                      <a:lumMod val="40000"/>
                      <a:lumOff val="60000"/>
                      <a:shade val="100000"/>
                      <a:satMod val="115000"/>
                    </a:srgbClr>
                  </a:gs>
                </a:gsLst>
                <a:lin ang="16200000" scaled="1"/>
              </a:gra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83838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6" name="Freeform 16"/>
            <p:cNvSpPr/>
            <p:nvPr/>
          </p:nvSpPr>
          <p:spPr bwMode="auto">
            <a:xfrm flipV="1">
              <a:off x="3214250" y="912960"/>
              <a:ext cx="1250143" cy="917945"/>
            </a:xfrm>
            <a:custGeom>
              <a:avLst/>
              <a:gdLst/>
              <a:ahLst/>
              <a:cxnLst>
                <a:cxn ang="0">
                  <a:pos x="0" y="319"/>
                </a:cxn>
                <a:cxn ang="0">
                  <a:pos x="166" y="275"/>
                </a:cxn>
                <a:cxn ang="0">
                  <a:pos x="451" y="21"/>
                </a:cxn>
                <a:cxn ang="0">
                  <a:pos x="431" y="0"/>
                </a:cxn>
                <a:cxn ang="0">
                  <a:pos x="132" y="267"/>
                </a:cxn>
                <a:cxn ang="0">
                  <a:pos x="0" y="319"/>
                </a:cxn>
              </a:cxnLst>
              <a:rect l="0" t="0" r="r" b="b"/>
              <a:pathLst>
                <a:path w="451" h="331">
                  <a:moveTo>
                    <a:pt x="0" y="319"/>
                  </a:moveTo>
                  <a:cubicBezTo>
                    <a:pt x="57" y="331"/>
                    <a:pt x="119" y="317"/>
                    <a:pt x="166" y="275"/>
                  </a:cubicBezTo>
                  <a:cubicBezTo>
                    <a:pt x="451" y="21"/>
                    <a:pt x="451" y="21"/>
                    <a:pt x="451" y="21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132" y="267"/>
                    <a:pt x="132" y="267"/>
                    <a:pt x="132" y="267"/>
                  </a:cubicBezTo>
                  <a:cubicBezTo>
                    <a:pt x="94" y="301"/>
                    <a:pt x="47" y="318"/>
                    <a:pt x="0" y="319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" name="Freeform 17"/>
            <p:cNvSpPr/>
            <p:nvPr/>
          </p:nvSpPr>
          <p:spPr bwMode="auto">
            <a:xfrm flipV="1">
              <a:off x="3690830" y="1686522"/>
              <a:ext cx="851036" cy="930858"/>
            </a:xfrm>
            <a:custGeom>
              <a:avLst/>
              <a:gdLst/>
              <a:ahLst/>
              <a:cxnLst>
                <a:cxn ang="0">
                  <a:pos x="299" y="328"/>
                </a:cxn>
                <a:cxn ang="0">
                  <a:pos x="139" y="181"/>
                </a:cxn>
                <a:cxn ang="0">
                  <a:pos x="8" y="8"/>
                </a:cxn>
                <a:cxn ang="0">
                  <a:pos x="169" y="155"/>
                </a:cxn>
                <a:cxn ang="0">
                  <a:pos x="299" y="328"/>
                </a:cxn>
              </a:cxnLst>
              <a:rect l="0" t="0" r="r" b="b"/>
              <a:pathLst>
                <a:path w="307" h="336">
                  <a:moveTo>
                    <a:pt x="299" y="328"/>
                  </a:moveTo>
                  <a:cubicBezTo>
                    <a:pt x="291" y="336"/>
                    <a:pt x="219" y="270"/>
                    <a:pt x="139" y="181"/>
                  </a:cubicBezTo>
                  <a:cubicBezTo>
                    <a:pt x="59" y="93"/>
                    <a:pt x="0" y="15"/>
                    <a:pt x="8" y="8"/>
                  </a:cubicBezTo>
                  <a:cubicBezTo>
                    <a:pt x="17" y="0"/>
                    <a:pt x="88" y="66"/>
                    <a:pt x="169" y="155"/>
                  </a:cubicBezTo>
                  <a:cubicBezTo>
                    <a:pt x="249" y="243"/>
                    <a:pt x="307" y="321"/>
                    <a:pt x="299" y="3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rgbClr val="383838"/>
                </a:solidFill>
                <a:latin typeface="Calibri" panose="020F0502020204030204"/>
              </a:endParaRPr>
            </a:p>
          </p:txBody>
        </p:sp>
        <p:sp>
          <p:nvSpPr>
            <p:cNvPr id="8" name="Freeform 18"/>
            <p:cNvSpPr/>
            <p:nvPr/>
          </p:nvSpPr>
          <p:spPr bwMode="auto">
            <a:xfrm flipV="1">
              <a:off x="3699047" y="1694739"/>
              <a:ext cx="840471" cy="917945"/>
            </a:xfrm>
            <a:custGeom>
              <a:avLst/>
              <a:gdLst/>
              <a:ahLst/>
              <a:cxnLst>
                <a:cxn ang="0">
                  <a:pos x="295" y="324"/>
                </a:cxn>
                <a:cxn ang="0">
                  <a:pos x="138" y="177"/>
                </a:cxn>
                <a:cxn ang="0">
                  <a:pos x="7" y="6"/>
                </a:cxn>
                <a:cxn ang="0">
                  <a:pos x="164" y="154"/>
                </a:cxn>
                <a:cxn ang="0">
                  <a:pos x="295" y="324"/>
                </a:cxn>
              </a:cxnLst>
              <a:rect l="0" t="0" r="r" b="b"/>
              <a:pathLst>
                <a:path w="303" h="331">
                  <a:moveTo>
                    <a:pt x="295" y="324"/>
                  </a:moveTo>
                  <a:cubicBezTo>
                    <a:pt x="288" y="331"/>
                    <a:pt x="218" y="265"/>
                    <a:pt x="138" y="177"/>
                  </a:cubicBezTo>
                  <a:cubicBezTo>
                    <a:pt x="59" y="89"/>
                    <a:pt x="0" y="13"/>
                    <a:pt x="7" y="6"/>
                  </a:cubicBezTo>
                  <a:cubicBezTo>
                    <a:pt x="15" y="0"/>
                    <a:pt x="85" y="66"/>
                    <a:pt x="164" y="154"/>
                  </a:cubicBezTo>
                  <a:cubicBezTo>
                    <a:pt x="244" y="241"/>
                    <a:pt x="303" y="318"/>
                    <a:pt x="295" y="324"/>
                  </a:cubicBezTo>
                  <a:close/>
                </a:path>
              </a:pathLst>
            </a:custGeom>
            <a:solidFill>
              <a:srgbClr val="0070C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9" name="Group 45"/>
          <p:cNvGrpSpPr/>
          <p:nvPr/>
        </p:nvGrpSpPr>
        <p:grpSpPr>
          <a:xfrm flipV="1">
            <a:off x="4642396" y="829407"/>
            <a:ext cx="1825326" cy="1868758"/>
            <a:chOff x="4222750" y="4351338"/>
            <a:chExt cx="2468563" cy="2527300"/>
          </a:xfrm>
        </p:grpSpPr>
        <p:sp>
          <p:nvSpPr>
            <p:cNvPr id="10" name="Freeform 19"/>
            <p:cNvSpPr/>
            <p:nvPr/>
          </p:nvSpPr>
          <p:spPr bwMode="auto">
            <a:xfrm>
              <a:off x="4249738" y="4384675"/>
              <a:ext cx="2441575" cy="2493963"/>
            </a:xfrm>
            <a:custGeom>
              <a:avLst/>
              <a:gdLst/>
              <a:ahLst/>
              <a:cxnLst>
                <a:cxn ang="0">
                  <a:pos x="574" y="288"/>
                </a:cxn>
                <a:cxn ang="0">
                  <a:pos x="329" y="0"/>
                </a:cxn>
                <a:cxn ang="0">
                  <a:pos x="0" y="275"/>
                </a:cxn>
                <a:cxn ang="0">
                  <a:pos x="245" y="564"/>
                </a:cxn>
                <a:cxn ang="0">
                  <a:pos x="549" y="589"/>
                </a:cxn>
                <a:cxn ang="0">
                  <a:pos x="574" y="288"/>
                </a:cxn>
              </a:cxnLst>
              <a:rect l="0" t="0" r="r" b="b"/>
              <a:pathLst>
                <a:path w="651" h="665">
                  <a:moveTo>
                    <a:pt x="574" y="288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245" y="564"/>
                    <a:pt x="245" y="564"/>
                    <a:pt x="245" y="564"/>
                  </a:cubicBezTo>
                  <a:cubicBezTo>
                    <a:pt x="322" y="653"/>
                    <a:pt x="458" y="665"/>
                    <a:pt x="549" y="589"/>
                  </a:cubicBezTo>
                  <a:cubicBezTo>
                    <a:pt x="639" y="513"/>
                    <a:pt x="651" y="378"/>
                    <a:pt x="574" y="288"/>
                  </a:cubicBezTo>
                  <a:close/>
                </a:path>
              </a:pathLst>
            </a:custGeom>
            <a:gradFill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1" name="Freeform 20"/>
            <p:cNvSpPr/>
            <p:nvPr/>
          </p:nvSpPr>
          <p:spPr bwMode="auto">
            <a:xfrm>
              <a:off x="4860925" y="4481513"/>
              <a:ext cx="1701800" cy="1868488"/>
            </a:xfrm>
            <a:custGeom>
              <a:avLst/>
              <a:gdLst/>
              <a:ahLst/>
              <a:cxnLst>
                <a:cxn ang="0">
                  <a:pos x="357" y="261"/>
                </a:cxn>
                <a:cxn ang="0">
                  <a:pos x="135" y="0"/>
                </a:cxn>
                <a:cxn ang="0">
                  <a:pos x="0" y="113"/>
                </a:cxn>
                <a:cxn ang="0">
                  <a:pos x="222" y="374"/>
                </a:cxn>
                <a:cxn ang="0">
                  <a:pos x="417" y="467"/>
                </a:cxn>
                <a:cxn ang="0">
                  <a:pos x="357" y="261"/>
                </a:cxn>
              </a:cxnLst>
              <a:rect l="0" t="0" r="r" b="b"/>
              <a:pathLst>
                <a:path w="454" h="498">
                  <a:moveTo>
                    <a:pt x="357" y="261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222" y="374"/>
                    <a:pt x="222" y="374"/>
                    <a:pt x="222" y="374"/>
                  </a:cubicBezTo>
                  <a:cubicBezTo>
                    <a:pt x="292" y="456"/>
                    <a:pt x="380" y="498"/>
                    <a:pt x="417" y="467"/>
                  </a:cubicBezTo>
                  <a:cubicBezTo>
                    <a:pt x="454" y="435"/>
                    <a:pt x="427" y="343"/>
                    <a:pt x="357" y="261"/>
                  </a:cubicBezTo>
                  <a:close/>
                </a:path>
              </a:pathLst>
            </a:custGeom>
            <a:gradFill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2" name="Freeform 21"/>
            <p:cNvSpPr/>
            <p:nvPr/>
          </p:nvSpPr>
          <p:spPr bwMode="auto">
            <a:xfrm>
              <a:off x="4332288" y="5281613"/>
              <a:ext cx="1525588" cy="1412875"/>
            </a:xfrm>
            <a:custGeom>
              <a:avLst/>
              <a:gdLst/>
              <a:ahLst/>
              <a:cxnLst>
                <a:cxn ang="0">
                  <a:pos x="279" y="302"/>
                </a:cxn>
                <a:cxn ang="0">
                  <a:pos x="22" y="0"/>
                </a:cxn>
                <a:cxn ang="0">
                  <a:pos x="0" y="18"/>
                </a:cxn>
                <a:cxn ang="0">
                  <a:pos x="245" y="306"/>
                </a:cxn>
                <a:cxn ang="0">
                  <a:pos x="407" y="371"/>
                </a:cxn>
                <a:cxn ang="0">
                  <a:pos x="279" y="302"/>
                </a:cxn>
              </a:cxnLst>
              <a:rect l="0" t="0" r="r" b="b"/>
              <a:pathLst>
                <a:path w="407" h="377">
                  <a:moveTo>
                    <a:pt x="279" y="302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87" y="355"/>
                    <a:pt x="348" y="377"/>
                    <a:pt x="407" y="371"/>
                  </a:cubicBezTo>
                  <a:cubicBezTo>
                    <a:pt x="360" y="365"/>
                    <a:pt x="313" y="342"/>
                    <a:pt x="279" y="302"/>
                  </a:cubicBez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3" name="Freeform 22"/>
            <p:cNvSpPr/>
            <p:nvPr/>
          </p:nvSpPr>
          <p:spPr bwMode="auto">
            <a:xfrm>
              <a:off x="4222750" y="4351338"/>
              <a:ext cx="1287463" cy="1098550"/>
            </a:xfrm>
            <a:custGeom>
              <a:avLst/>
              <a:gdLst/>
              <a:ahLst/>
              <a:cxnLst>
                <a:cxn ang="0">
                  <a:pos x="336" y="9"/>
                </a:cxn>
                <a:cxn ang="0">
                  <a:pos x="184" y="162"/>
                </a:cxn>
                <a:cxn ang="0">
                  <a:pos x="7" y="284"/>
                </a:cxn>
                <a:cxn ang="0">
                  <a:pos x="158" y="131"/>
                </a:cxn>
                <a:cxn ang="0">
                  <a:pos x="336" y="9"/>
                </a:cxn>
              </a:cxnLst>
              <a:rect l="0" t="0" r="r" b="b"/>
              <a:pathLst>
                <a:path w="343" h="293">
                  <a:moveTo>
                    <a:pt x="336" y="9"/>
                  </a:moveTo>
                  <a:cubicBezTo>
                    <a:pt x="343" y="17"/>
                    <a:pt x="275" y="86"/>
                    <a:pt x="184" y="162"/>
                  </a:cubicBezTo>
                  <a:cubicBezTo>
                    <a:pt x="93" y="238"/>
                    <a:pt x="14" y="293"/>
                    <a:pt x="7" y="284"/>
                  </a:cubicBezTo>
                  <a:cubicBezTo>
                    <a:pt x="0" y="276"/>
                    <a:pt x="68" y="207"/>
                    <a:pt x="158" y="131"/>
                  </a:cubicBezTo>
                  <a:cubicBezTo>
                    <a:pt x="249" y="55"/>
                    <a:pt x="329" y="0"/>
                    <a:pt x="336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4" name="Freeform 23"/>
            <p:cNvSpPr/>
            <p:nvPr/>
          </p:nvSpPr>
          <p:spPr bwMode="auto">
            <a:xfrm>
              <a:off x="4227513" y="4357688"/>
              <a:ext cx="1271588" cy="1081088"/>
            </a:xfrm>
            <a:custGeom>
              <a:avLst/>
              <a:gdLst/>
              <a:ahLst/>
              <a:cxnLst>
                <a:cxn ang="0">
                  <a:pos x="333" y="7"/>
                </a:cxn>
                <a:cxn ang="0">
                  <a:pos x="181" y="157"/>
                </a:cxn>
                <a:cxn ang="0">
                  <a:pos x="7" y="280"/>
                </a:cxn>
                <a:cxn ang="0">
                  <a:pos x="158" y="130"/>
                </a:cxn>
                <a:cxn ang="0">
                  <a:pos x="333" y="7"/>
                </a:cxn>
              </a:cxnLst>
              <a:rect l="0" t="0" r="r" b="b"/>
              <a:pathLst>
                <a:path w="339" h="288">
                  <a:moveTo>
                    <a:pt x="333" y="7"/>
                  </a:moveTo>
                  <a:cubicBezTo>
                    <a:pt x="339" y="15"/>
                    <a:pt x="271" y="82"/>
                    <a:pt x="181" y="157"/>
                  </a:cubicBezTo>
                  <a:cubicBezTo>
                    <a:pt x="91" y="232"/>
                    <a:pt x="13" y="288"/>
                    <a:pt x="7" y="280"/>
                  </a:cubicBezTo>
                  <a:cubicBezTo>
                    <a:pt x="0" y="273"/>
                    <a:pt x="68" y="206"/>
                    <a:pt x="158" y="130"/>
                  </a:cubicBezTo>
                  <a:cubicBezTo>
                    <a:pt x="248" y="55"/>
                    <a:pt x="326" y="0"/>
                    <a:pt x="333" y="7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5" name="Group 60"/>
          <p:cNvGrpSpPr/>
          <p:nvPr/>
        </p:nvGrpSpPr>
        <p:grpSpPr>
          <a:xfrm rot="19472424">
            <a:off x="4061750" y="2588683"/>
            <a:ext cx="509987" cy="183330"/>
            <a:chOff x="1676400" y="4114800"/>
            <a:chExt cx="5871518" cy="2110694"/>
          </a:xfrm>
        </p:grpSpPr>
        <p:sp>
          <p:nvSpPr>
            <p:cNvPr id="16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7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8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9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0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1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2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4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25" name="Group 61"/>
          <p:cNvGrpSpPr/>
          <p:nvPr/>
        </p:nvGrpSpPr>
        <p:grpSpPr>
          <a:xfrm rot="6420098">
            <a:off x="4471625" y="3119524"/>
            <a:ext cx="509987" cy="183330"/>
            <a:chOff x="1676400" y="4114800"/>
            <a:chExt cx="5871518" cy="2110694"/>
          </a:xfrm>
        </p:grpSpPr>
        <p:sp>
          <p:nvSpPr>
            <p:cNvPr id="26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7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8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9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0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1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2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3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34" name="Group 70"/>
          <p:cNvGrpSpPr/>
          <p:nvPr/>
        </p:nvGrpSpPr>
        <p:grpSpPr>
          <a:xfrm>
            <a:off x="3880796" y="3292393"/>
            <a:ext cx="509987" cy="183330"/>
            <a:chOff x="1676400" y="4114800"/>
            <a:chExt cx="5871518" cy="2110694"/>
          </a:xfrm>
        </p:grpSpPr>
        <p:sp>
          <p:nvSpPr>
            <p:cNvPr id="35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6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7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8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9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0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1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2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43" name="Group 79"/>
          <p:cNvGrpSpPr/>
          <p:nvPr/>
        </p:nvGrpSpPr>
        <p:grpSpPr>
          <a:xfrm rot="2107933">
            <a:off x="4639797" y="2719372"/>
            <a:ext cx="509987" cy="183330"/>
            <a:chOff x="1676400" y="4114800"/>
            <a:chExt cx="5871518" cy="2110694"/>
          </a:xfrm>
        </p:grpSpPr>
        <p:sp>
          <p:nvSpPr>
            <p:cNvPr id="44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5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6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7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8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9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0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1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52" name="Group 97"/>
          <p:cNvGrpSpPr/>
          <p:nvPr/>
        </p:nvGrpSpPr>
        <p:grpSpPr>
          <a:xfrm rot="15096146">
            <a:off x="3946140" y="2256933"/>
            <a:ext cx="509987" cy="183330"/>
            <a:chOff x="1676400" y="4114800"/>
            <a:chExt cx="5871518" cy="2110694"/>
          </a:xfrm>
        </p:grpSpPr>
        <p:sp>
          <p:nvSpPr>
            <p:cNvPr id="53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4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6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7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9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0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61" name="Group 106"/>
          <p:cNvGrpSpPr/>
          <p:nvPr/>
        </p:nvGrpSpPr>
        <p:grpSpPr>
          <a:xfrm rot="11844100">
            <a:off x="4956467" y="2483126"/>
            <a:ext cx="509987" cy="183330"/>
            <a:chOff x="1676400" y="4114800"/>
            <a:chExt cx="5871518" cy="2110694"/>
          </a:xfrm>
        </p:grpSpPr>
        <p:sp>
          <p:nvSpPr>
            <p:cNvPr id="62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3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4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5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6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7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8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9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70" name="Group 115"/>
          <p:cNvGrpSpPr/>
          <p:nvPr/>
        </p:nvGrpSpPr>
        <p:grpSpPr>
          <a:xfrm rot="2227778">
            <a:off x="4316711" y="3980644"/>
            <a:ext cx="509987" cy="183330"/>
            <a:chOff x="1676400" y="4114800"/>
            <a:chExt cx="5871518" cy="2110694"/>
          </a:xfrm>
        </p:grpSpPr>
        <p:sp>
          <p:nvSpPr>
            <p:cNvPr id="71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2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3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4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5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6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7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8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79" name="Group 124"/>
          <p:cNvGrpSpPr/>
          <p:nvPr/>
        </p:nvGrpSpPr>
        <p:grpSpPr>
          <a:xfrm rot="9422512">
            <a:off x="4443619" y="2112090"/>
            <a:ext cx="509987" cy="183330"/>
            <a:chOff x="1676400" y="4114800"/>
            <a:chExt cx="5871518" cy="2110694"/>
          </a:xfrm>
        </p:grpSpPr>
        <p:sp>
          <p:nvSpPr>
            <p:cNvPr id="80" name="Freeform 6"/>
            <p:cNvSpPr/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1" name="Freeform 7"/>
            <p:cNvSpPr/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2" name="Freeform 9"/>
            <p:cNvSpPr/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3" name="Freeform 11"/>
            <p:cNvSpPr/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4" name="Freeform 12"/>
            <p:cNvSpPr/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5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6" name="Freeform 8"/>
            <p:cNvSpPr/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shade val="67500"/>
                    <a:satMod val="115000"/>
                    <a:alpha val="20000"/>
                  </a:sysClr>
                </a:gs>
                <a:gs pos="100000">
                  <a:sysClr val="window" lastClr="FFFFFF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87" name="Freeform 10"/>
            <p:cNvSpPr/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88" name="Rectangle 134"/>
          <p:cNvSpPr/>
          <p:nvPr/>
        </p:nvSpPr>
        <p:spPr>
          <a:xfrm>
            <a:off x="1900387" y="3441224"/>
            <a:ext cx="15535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b="1" kern="0" dirty="0" smtClean="0">
                <a:solidFill>
                  <a:srgbClr val="278095"/>
                </a:solidFill>
                <a:latin typeface="Calibri" panose="020F0502020204030204"/>
                <a:cs typeface="Arial" panose="020B0604020202020204" pitchFamily="34" charset="0"/>
              </a:rPr>
              <a:t>添加标题</a:t>
            </a:r>
            <a:endParaRPr lang="en-US" altLang="ko-KR" b="1" kern="0" dirty="0" smtClean="0">
              <a:solidFill>
                <a:srgbClr val="278095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89" name="Rectangle 135"/>
          <p:cNvSpPr/>
          <p:nvPr/>
        </p:nvSpPr>
        <p:spPr>
          <a:xfrm>
            <a:off x="1746163" y="3795886"/>
            <a:ext cx="21454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kern="0" dirty="0" smtClean="0">
                <a:solidFill>
                  <a:srgbClr val="278095"/>
                </a:solidFill>
                <a:latin typeface="Calibri" panose="020F0502020204030204"/>
                <a:cs typeface="Arial" panose="020B0604020202020204" pitchFamily="34" charset="0"/>
              </a:rPr>
              <a:t>单击此处添加文本</a:t>
            </a:r>
            <a:endParaRPr lang="en-US" altLang="ko-KR" sz="1600" kern="0" dirty="0" smtClean="0">
              <a:solidFill>
                <a:srgbClr val="278095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90" name="Rectangle 139"/>
          <p:cNvSpPr/>
          <p:nvPr/>
        </p:nvSpPr>
        <p:spPr>
          <a:xfrm>
            <a:off x="5720528" y="3441224"/>
            <a:ext cx="15535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b="1" kern="0" dirty="0" smtClean="0">
                <a:solidFill>
                  <a:srgbClr val="FF0000"/>
                </a:solidFill>
                <a:latin typeface="Calibri" panose="020F0502020204030204"/>
                <a:cs typeface="Arial" panose="020B0604020202020204" pitchFamily="34" charset="0"/>
              </a:rPr>
              <a:t>添加标题</a:t>
            </a:r>
            <a:endParaRPr lang="en-US" altLang="ko-KR" b="1" kern="0" dirty="0" smtClean="0">
              <a:solidFill>
                <a:srgbClr val="FF0000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91" name="Rectangle 140"/>
          <p:cNvSpPr/>
          <p:nvPr/>
        </p:nvSpPr>
        <p:spPr>
          <a:xfrm>
            <a:off x="5524914" y="3799096"/>
            <a:ext cx="20714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kern="0" dirty="0">
                <a:solidFill>
                  <a:srgbClr val="FF0000"/>
                </a:solidFill>
                <a:latin typeface="Calibri" panose="020F0502020204030204"/>
                <a:cs typeface="Arial" panose="020B0604020202020204" pitchFamily="34" charset="0"/>
              </a:rPr>
              <a:t>单击此处添加文本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40">
        <p:fade/>
      </p:transition>
    </mc:Choice>
    <mc:Fallback xmlns="">
      <p:transition spd="med" advTm="304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7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8" grpId="0"/>
      <p:bldP spid="89" grpId="0"/>
      <p:bldP spid="90" grpId="0"/>
      <p:bldP spid="9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" name="组合 140"/>
          <p:cNvGrpSpPr/>
          <p:nvPr/>
        </p:nvGrpSpPr>
        <p:grpSpPr>
          <a:xfrm>
            <a:off x="1638910" y="715024"/>
            <a:ext cx="5750967" cy="3786850"/>
            <a:chOff x="1765833" y="715024"/>
            <a:chExt cx="5750967" cy="3786849"/>
          </a:xfrm>
        </p:grpSpPr>
        <p:grpSp>
          <p:nvGrpSpPr>
            <p:cNvPr id="134" name="组合 133"/>
            <p:cNvGrpSpPr/>
            <p:nvPr/>
          </p:nvGrpSpPr>
          <p:grpSpPr>
            <a:xfrm>
              <a:off x="1765833" y="715024"/>
              <a:ext cx="5750967" cy="3786849"/>
              <a:chOff x="1765833" y="715024"/>
              <a:chExt cx="5750967" cy="3786849"/>
            </a:xfrm>
          </p:grpSpPr>
          <p:grpSp>
            <p:nvGrpSpPr>
              <p:cNvPr id="73" name="그룹 158"/>
              <p:cNvGrpSpPr/>
              <p:nvPr/>
            </p:nvGrpSpPr>
            <p:grpSpPr>
              <a:xfrm>
                <a:off x="2399832" y="886161"/>
                <a:ext cx="5116968" cy="2874857"/>
                <a:chOff x="1000100" y="1927214"/>
                <a:chExt cx="7429552" cy="3573488"/>
              </a:xfrm>
            </p:grpSpPr>
            <p:cxnSp>
              <p:nvCxnSpPr>
                <p:cNvPr id="74" name="직선 연결선 147"/>
                <p:cNvCxnSpPr/>
                <p:nvPr/>
              </p:nvCxnSpPr>
              <p:spPr>
                <a:xfrm>
                  <a:off x="1000100" y="549911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5" name="직선 연결선 148"/>
                <p:cNvCxnSpPr/>
                <p:nvPr/>
              </p:nvCxnSpPr>
              <p:spPr>
                <a:xfrm>
                  <a:off x="1000100" y="514192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6" name="직선 연결선 149"/>
                <p:cNvCxnSpPr/>
                <p:nvPr/>
              </p:nvCxnSpPr>
              <p:spPr>
                <a:xfrm>
                  <a:off x="1000100" y="478473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7" name="직선 연결선 150"/>
                <p:cNvCxnSpPr/>
                <p:nvPr/>
              </p:nvCxnSpPr>
              <p:spPr>
                <a:xfrm>
                  <a:off x="1000100" y="442754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8" name="직선 연결선 151"/>
                <p:cNvCxnSpPr/>
                <p:nvPr/>
              </p:nvCxnSpPr>
              <p:spPr>
                <a:xfrm>
                  <a:off x="1000100" y="407035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9" name="직선 연결선 152"/>
                <p:cNvCxnSpPr/>
                <p:nvPr/>
              </p:nvCxnSpPr>
              <p:spPr>
                <a:xfrm>
                  <a:off x="1000100" y="371316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0" name="직선 연결선 153"/>
                <p:cNvCxnSpPr/>
                <p:nvPr/>
              </p:nvCxnSpPr>
              <p:spPr>
                <a:xfrm>
                  <a:off x="1000100" y="335597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1" name="직선 연결선 154"/>
                <p:cNvCxnSpPr/>
                <p:nvPr/>
              </p:nvCxnSpPr>
              <p:spPr>
                <a:xfrm>
                  <a:off x="1000100" y="3000372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2" name="직선 연결선 155"/>
                <p:cNvCxnSpPr/>
                <p:nvPr/>
              </p:nvCxnSpPr>
              <p:spPr>
                <a:xfrm>
                  <a:off x="1000100" y="264159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3" name="직선 연결선 156"/>
                <p:cNvCxnSpPr/>
                <p:nvPr/>
              </p:nvCxnSpPr>
              <p:spPr>
                <a:xfrm>
                  <a:off x="1000100" y="228440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4" name="직선 연결선 157"/>
                <p:cNvCxnSpPr/>
                <p:nvPr/>
              </p:nvCxnSpPr>
              <p:spPr>
                <a:xfrm>
                  <a:off x="1000100" y="192721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</p:grpSp>
          <p:grpSp>
            <p:nvGrpSpPr>
              <p:cNvPr id="86" name="그룹 134"/>
              <p:cNvGrpSpPr/>
              <p:nvPr/>
            </p:nvGrpSpPr>
            <p:grpSpPr>
              <a:xfrm>
                <a:off x="1765833" y="715024"/>
                <a:ext cx="612667" cy="3263919"/>
                <a:chOff x="5318801" y="1357298"/>
                <a:chExt cx="889558" cy="4057100"/>
              </a:xfrm>
            </p:grpSpPr>
            <p:sp>
              <p:nvSpPr>
                <p:cNvPr id="87" name="직사각형 135"/>
                <p:cNvSpPr/>
                <p:nvPr/>
              </p:nvSpPr>
              <p:spPr>
                <a:xfrm>
                  <a:off x="5733087" y="4917055"/>
                  <a:ext cx="475269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88" name="직사각형 136"/>
                <p:cNvSpPr/>
                <p:nvPr/>
              </p:nvSpPr>
              <p:spPr>
                <a:xfrm>
                  <a:off x="5525943" y="4572010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1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89" name="직사각형 137"/>
                <p:cNvSpPr/>
                <p:nvPr/>
              </p:nvSpPr>
              <p:spPr>
                <a:xfrm>
                  <a:off x="5525943" y="4202678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2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0" name="직사각형 138"/>
                <p:cNvSpPr/>
                <p:nvPr/>
              </p:nvSpPr>
              <p:spPr>
                <a:xfrm>
                  <a:off x="5525943" y="3857630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3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1" name="직사각형 139"/>
                <p:cNvSpPr/>
                <p:nvPr/>
              </p:nvSpPr>
              <p:spPr>
                <a:xfrm>
                  <a:off x="5525943" y="3488299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4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2" name="직사각형 140"/>
                <p:cNvSpPr/>
                <p:nvPr/>
              </p:nvSpPr>
              <p:spPr>
                <a:xfrm>
                  <a:off x="5525943" y="3143248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5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3" name="직사각형 141"/>
                <p:cNvSpPr/>
                <p:nvPr/>
              </p:nvSpPr>
              <p:spPr>
                <a:xfrm>
                  <a:off x="5525943" y="2773916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6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4" name="직사각형 142"/>
                <p:cNvSpPr/>
                <p:nvPr/>
              </p:nvSpPr>
              <p:spPr>
                <a:xfrm>
                  <a:off x="5525943" y="2428869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7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5" name="직사각형 143"/>
                <p:cNvSpPr/>
                <p:nvPr/>
              </p:nvSpPr>
              <p:spPr>
                <a:xfrm>
                  <a:off x="5525943" y="2071680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8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6" name="직사각형 144"/>
                <p:cNvSpPr/>
                <p:nvPr/>
              </p:nvSpPr>
              <p:spPr>
                <a:xfrm>
                  <a:off x="5525943" y="1702346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9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97" name="직사각형 145"/>
                <p:cNvSpPr/>
                <p:nvPr/>
              </p:nvSpPr>
              <p:spPr>
                <a:xfrm>
                  <a:off x="5318801" y="1357298"/>
                  <a:ext cx="889558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 smtClean="0">
                      <a:solidFill>
                        <a:prstClr val="black"/>
                      </a:solidFill>
                      <a:latin typeface="Arial Unicode MS" pitchFamily="34" charset="-122"/>
                      <a:ea typeface="微软雅黑" panose="020B0503020204020204" pitchFamily="34" charset="-122"/>
                    </a:rPr>
                    <a:t>100</a:t>
                  </a:r>
                  <a:endParaRPr lang="en-US" altLang="ko-KR" sz="2000" b="1" dirty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24" name="직사각형 192"/>
              <p:cNvSpPr/>
              <p:nvPr/>
            </p:nvSpPr>
            <p:spPr>
              <a:xfrm>
                <a:off x="2934168" y="4163319"/>
                <a:ext cx="788998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文本</a:t>
                </a:r>
                <a:r>
                  <a:rPr lang="en-US" altLang="ko-KR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 A</a:t>
                </a:r>
                <a:endParaRPr lang="en-US" altLang="ko-KR" sz="1600" b="1" dirty="0">
                  <a:solidFill>
                    <a:prstClr val="black"/>
                  </a:solidFill>
                  <a:latin typeface="Arial Unicode MS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5" name="직사각형 193"/>
              <p:cNvSpPr/>
              <p:nvPr/>
            </p:nvSpPr>
            <p:spPr>
              <a:xfrm>
                <a:off x="3721397" y="4163318"/>
                <a:ext cx="788998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文本</a:t>
                </a:r>
                <a:r>
                  <a:rPr lang="en-US" altLang="ko-KR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 B</a:t>
                </a:r>
                <a:endParaRPr lang="en-US" altLang="ko-KR" sz="1600" b="1" dirty="0">
                  <a:solidFill>
                    <a:prstClr val="black"/>
                  </a:solidFill>
                  <a:latin typeface="Arial Unicode MS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6" name="직사각형 194"/>
              <p:cNvSpPr/>
              <p:nvPr/>
            </p:nvSpPr>
            <p:spPr>
              <a:xfrm>
                <a:off x="4495798" y="4163318"/>
                <a:ext cx="801822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文本</a:t>
                </a:r>
                <a:r>
                  <a:rPr lang="en-US" altLang="ko-KR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 C</a:t>
                </a:r>
                <a:endParaRPr lang="en-US" altLang="ko-KR" sz="1600" b="1" dirty="0">
                  <a:solidFill>
                    <a:prstClr val="black"/>
                  </a:solidFill>
                  <a:latin typeface="Arial Unicode MS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7" name="직사각형 195"/>
              <p:cNvSpPr/>
              <p:nvPr/>
            </p:nvSpPr>
            <p:spPr>
              <a:xfrm>
                <a:off x="5233824" y="4163318"/>
                <a:ext cx="801822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文本</a:t>
                </a:r>
                <a:r>
                  <a:rPr lang="en-US" altLang="ko-KR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 D</a:t>
                </a:r>
                <a:endParaRPr lang="en-US" altLang="ko-KR" sz="1600" b="1" dirty="0">
                  <a:solidFill>
                    <a:prstClr val="black"/>
                  </a:solidFill>
                  <a:latin typeface="Arial Unicode MS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8" name="직사각형 196"/>
              <p:cNvSpPr/>
              <p:nvPr/>
            </p:nvSpPr>
            <p:spPr>
              <a:xfrm>
                <a:off x="6033873" y="4163318"/>
                <a:ext cx="788998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文本</a:t>
                </a:r>
                <a:r>
                  <a:rPr lang="en-US" altLang="ko-KR" sz="1600" b="1" dirty="0" smtClean="0">
                    <a:solidFill>
                      <a:prstClr val="black"/>
                    </a:solidFill>
                    <a:latin typeface="Arial Unicode MS" pitchFamily="34" charset="-122"/>
                    <a:ea typeface="微软雅黑" panose="020B0503020204020204" pitchFamily="34" charset="-122"/>
                  </a:rPr>
                  <a:t> E</a:t>
                </a:r>
                <a:endParaRPr lang="en-US" altLang="ko-KR" sz="1600" b="1" dirty="0">
                  <a:solidFill>
                    <a:prstClr val="black"/>
                  </a:solidFill>
                  <a:latin typeface="Arial Unicode MS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3" name="191"/>
            <p:cNvSpPr/>
            <p:nvPr/>
          </p:nvSpPr>
          <p:spPr>
            <a:xfrm>
              <a:off x="2317444" y="745802"/>
              <a:ext cx="505267" cy="33855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r"/>
              <a:r>
                <a:rPr lang="en-US" altLang="ko-KR" sz="1600" b="1" dirty="0" smtClean="0">
                  <a:solidFill>
                    <a:prstClr val="black"/>
                  </a:solidFill>
                  <a:latin typeface="Arial Unicode MS" pitchFamily="34" charset="-122"/>
                  <a:ea typeface="微软雅黑" panose="020B0503020204020204" pitchFamily="34" charset="-122"/>
                </a:rPr>
                <a:t>(%)</a:t>
              </a:r>
              <a:endParaRPr lang="en-US" altLang="ko-KR" sz="1600" b="1" dirty="0">
                <a:solidFill>
                  <a:prstClr val="black"/>
                </a:solidFill>
                <a:latin typeface="Arial Unicode MS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0" name="组合 139"/>
          <p:cNvGrpSpPr/>
          <p:nvPr/>
        </p:nvGrpSpPr>
        <p:grpSpPr>
          <a:xfrm>
            <a:off x="2944641" y="3990904"/>
            <a:ext cx="3739323" cy="229887"/>
            <a:chOff x="3088655" y="3990903"/>
            <a:chExt cx="3739323" cy="229887"/>
          </a:xfrm>
        </p:grpSpPr>
        <p:sp>
          <p:nvSpPr>
            <p:cNvPr id="69" name="타원 184"/>
            <p:cNvSpPr/>
            <p:nvPr/>
          </p:nvSpPr>
          <p:spPr>
            <a:xfrm>
              <a:off x="3875880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70" name="타원 185"/>
            <p:cNvSpPr/>
            <p:nvPr/>
          </p:nvSpPr>
          <p:spPr>
            <a:xfrm>
              <a:off x="4701769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71" name="타원 186"/>
            <p:cNvSpPr/>
            <p:nvPr/>
          </p:nvSpPr>
          <p:spPr>
            <a:xfrm>
              <a:off x="5439792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72" name="타원 187"/>
            <p:cNvSpPr/>
            <p:nvPr/>
          </p:nvSpPr>
          <p:spPr>
            <a:xfrm>
              <a:off x="6227019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85" name="타원 124"/>
            <p:cNvSpPr/>
            <p:nvPr/>
          </p:nvSpPr>
          <p:spPr>
            <a:xfrm>
              <a:off x="3088655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</p:grpSp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135" name="组合 134"/>
          <p:cNvGrpSpPr/>
          <p:nvPr/>
        </p:nvGrpSpPr>
        <p:grpSpPr>
          <a:xfrm>
            <a:off x="3092246" y="887439"/>
            <a:ext cx="354951" cy="3230842"/>
            <a:chOff x="3236260" y="887438"/>
            <a:chExt cx="354951" cy="3230842"/>
          </a:xfrm>
        </p:grpSpPr>
        <p:sp>
          <p:nvSpPr>
            <p:cNvPr id="98" name="직사각형 159"/>
            <p:cNvSpPr/>
            <p:nvPr/>
          </p:nvSpPr>
          <p:spPr>
            <a:xfrm>
              <a:off x="3285461" y="887438"/>
              <a:ext cx="246008" cy="2126449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03" name="직사각형 164"/>
            <p:cNvSpPr/>
            <p:nvPr/>
          </p:nvSpPr>
          <p:spPr>
            <a:xfrm>
              <a:off x="3285461" y="3013887"/>
              <a:ext cx="246008" cy="804602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04" name="그룹 33"/>
            <p:cNvGrpSpPr/>
            <p:nvPr/>
          </p:nvGrpSpPr>
          <p:grpSpPr>
            <a:xfrm>
              <a:off x="3236260" y="3703546"/>
              <a:ext cx="354951" cy="414734"/>
              <a:chOff x="6858016" y="5000636"/>
              <a:chExt cx="515369" cy="515520"/>
            </a:xfrm>
          </p:grpSpPr>
          <p:sp>
            <p:nvSpPr>
              <p:cNvPr id="105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06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6" name="组合 135"/>
          <p:cNvGrpSpPr/>
          <p:nvPr/>
        </p:nvGrpSpPr>
        <p:grpSpPr>
          <a:xfrm>
            <a:off x="3868932" y="887440"/>
            <a:ext cx="354951" cy="3230841"/>
            <a:chOff x="4012946" y="887439"/>
            <a:chExt cx="354951" cy="3230841"/>
          </a:xfrm>
        </p:grpSpPr>
        <p:sp>
          <p:nvSpPr>
            <p:cNvPr id="99" name="직사각형 160"/>
            <p:cNvSpPr/>
            <p:nvPr/>
          </p:nvSpPr>
          <p:spPr>
            <a:xfrm>
              <a:off x="4072687" y="887439"/>
              <a:ext cx="246008" cy="632187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07" name="직사각형 168"/>
            <p:cNvSpPr/>
            <p:nvPr/>
          </p:nvSpPr>
          <p:spPr>
            <a:xfrm>
              <a:off x="4072687" y="1519626"/>
              <a:ext cx="246008" cy="2298863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08" name="그룹 33"/>
            <p:cNvGrpSpPr/>
            <p:nvPr/>
          </p:nvGrpSpPr>
          <p:grpSpPr>
            <a:xfrm>
              <a:off x="4012946" y="3703546"/>
              <a:ext cx="354951" cy="414734"/>
              <a:chOff x="6858016" y="5000636"/>
              <a:chExt cx="515369" cy="515520"/>
            </a:xfrm>
          </p:grpSpPr>
          <p:sp>
            <p:nvSpPr>
              <p:cNvPr id="109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10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7" name="组合 136"/>
          <p:cNvGrpSpPr/>
          <p:nvPr/>
        </p:nvGrpSpPr>
        <p:grpSpPr>
          <a:xfrm>
            <a:off x="4666698" y="887440"/>
            <a:ext cx="354951" cy="3230841"/>
            <a:chOff x="4810712" y="887439"/>
            <a:chExt cx="354951" cy="3230841"/>
          </a:xfrm>
        </p:grpSpPr>
        <p:sp>
          <p:nvSpPr>
            <p:cNvPr id="100" name="직사각형 161"/>
            <p:cNvSpPr/>
            <p:nvPr/>
          </p:nvSpPr>
          <p:spPr>
            <a:xfrm>
              <a:off x="4859913" y="887439"/>
              <a:ext cx="246008" cy="1494261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11" name="직사각형 172"/>
            <p:cNvSpPr/>
            <p:nvPr/>
          </p:nvSpPr>
          <p:spPr>
            <a:xfrm>
              <a:off x="4859913" y="2381700"/>
              <a:ext cx="246008" cy="1436790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12" name="그룹 33"/>
            <p:cNvGrpSpPr/>
            <p:nvPr/>
          </p:nvGrpSpPr>
          <p:grpSpPr>
            <a:xfrm>
              <a:off x="4810712" y="3703546"/>
              <a:ext cx="354951" cy="414734"/>
              <a:chOff x="6858016" y="5000636"/>
              <a:chExt cx="515369" cy="515520"/>
            </a:xfrm>
          </p:grpSpPr>
          <p:sp>
            <p:nvSpPr>
              <p:cNvPr id="113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14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8" name="组合 137"/>
          <p:cNvGrpSpPr/>
          <p:nvPr/>
        </p:nvGrpSpPr>
        <p:grpSpPr>
          <a:xfrm>
            <a:off x="5404722" y="887440"/>
            <a:ext cx="354951" cy="3230841"/>
            <a:chOff x="5548736" y="887439"/>
            <a:chExt cx="354951" cy="3230841"/>
          </a:xfrm>
        </p:grpSpPr>
        <p:sp>
          <p:nvSpPr>
            <p:cNvPr id="101" name="직사각형 162"/>
            <p:cNvSpPr/>
            <p:nvPr/>
          </p:nvSpPr>
          <p:spPr>
            <a:xfrm>
              <a:off x="5597937" y="887439"/>
              <a:ext cx="246008" cy="287358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15" name="직사각형 176"/>
            <p:cNvSpPr/>
            <p:nvPr/>
          </p:nvSpPr>
          <p:spPr>
            <a:xfrm>
              <a:off x="5597937" y="1174796"/>
              <a:ext cx="246008" cy="2643693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16" name="그룹 33"/>
            <p:cNvGrpSpPr/>
            <p:nvPr/>
          </p:nvGrpSpPr>
          <p:grpSpPr>
            <a:xfrm>
              <a:off x="5548736" y="3703546"/>
              <a:ext cx="354951" cy="414734"/>
              <a:chOff x="6858016" y="5000636"/>
              <a:chExt cx="515369" cy="515520"/>
            </a:xfrm>
          </p:grpSpPr>
          <p:sp>
            <p:nvSpPr>
              <p:cNvPr id="117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18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9" name="组合 138"/>
          <p:cNvGrpSpPr/>
          <p:nvPr/>
        </p:nvGrpSpPr>
        <p:grpSpPr>
          <a:xfrm>
            <a:off x="6191948" y="887439"/>
            <a:ext cx="354951" cy="3230842"/>
            <a:chOff x="6335962" y="887438"/>
            <a:chExt cx="354951" cy="3230842"/>
          </a:xfrm>
        </p:grpSpPr>
        <p:sp>
          <p:nvSpPr>
            <p:cNvPr id="102" name="163"/>
            <p:cNvSpPr/>
            <p:nvPr/>
          </p:nvSpPr>
          <p:spPr>
            <a:xfrm>
              <a:off x="6385163" y="887438"/>
              <a:ext cx="246008" cy="1091960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19" name="180"/>
            <p:cNvSpPr/>
            <p:nvPr/>
          </p:nvSpPr>
          <p:spPr>
            <a:xfrm>
              <a:off x="6385163" y="1979398"/>
              <a:ext cx="246008" cy="1839090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20" name="그룹 33"/>
            <p:cNvGrpSpPr/>
            <p:nvPr/>
          </p:nvGrpSpPr>
          <p:grpSpPr>
            <a:xfrm>
              <a:off x="6335962" y="3703546"/>
              <a:ext cx="354951" cy="414734"/>
              <a:chOff x="6858016" y="5000636"/>
              <a:chExt cx="515369" cy="515520"/>
            </a:xfrm>
          </p:grpSpPr>
          <p:sp>
            <p:nvSpPr>
              <p:cNvPr id="121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22" name="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sp>
        <p:nvSpPr>
          <p:cNvPr id="129" name="197"/>
          <p:cNvSpPr/>
          <p:nvPr/>
        </p:nvSpPr>
        <p:spPr>
          <a:xfrm>
            <a:off x="3021435" y="2651767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 smtClean="0">
                <a:solidFill>
                  <a:prstClr val="black"/>
                </a:solidFill>
                <a:latin typeface="Arial Unicode MS" pitchFamily="34" charset="-122"/>
                <a:ea typeface="微软雅黑" panose="020B0503020204020204" pitchFamily="34" charset="-122"/>
              </a:rPr>
              <a:t>27%</a:t>
            </a:r>
            <a:endParaRPr lang="en-US" altLang="ko-KR" sz="1400" b="1" dirty="0">
              <a:solidFill>
                <a:prstClr val="black"/>
              </a:solidFill>
              <a:latin typeface="Arial Unicode MS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198"/>
          <p:cNvSpPr/>
          <p:nvPr/>
        </p:nvSpPr>
        <p:spPr>
          <a:xfrm>
            <a:off x="3808661" y="1223448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 smtClean="0">
                <a:solidFill>
                  <a:prstClr val="black"/>
                </a:solidFill>
                <a:latin typeface="Arial Unicode MS" pitchFamily="34" charset="-122"/>
                <a:ea typeface="微软雅黑" panose="020B0503020204020204" pitchFamily="34" charset="-122"/>
              </a:rPr>
              <a:t>78%</a:t>
            </a:r>
            <a:endParaRPr lang="en-US" altLang="ko-KR" sz="1400" b="1" dirty="0">
              <a:solidFill>
                <a:prstClr val="black"/>
              </a:solidFill>
              <a:latin typeface="Arial Unicode MS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1" name="199"/>
          <p:cNvSpPr/>
          <p:nvPr/>
        </p:nvSpPr>
        <p:spPr>
          <a:xfrm>
            <a:off x="4595887" y="2033733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 smtClean="0">
                <a:solidFill>
                  <a:prstClr val="black"/>
                </a:solidFill>
                <a:latin typeface="Arial Unicode MS" pitchFamily="34" charset="-122"/>
                <a:ea typeface="微软雅黑" panose="020B0503020204020204" pitchFamily="34" charset="-122"/>
              </a:rPr>
              <a:t>48%</a:t>
            </a:r>
            <a:endParaRPr lang="en-US" altLang="ko-KR" sz="1400" b="1" dirty="0">
              <a:solidFill>
                <a:prstClr val="black"/>
              </a:solidFill>
              <a:latin typeface="Arial Unicode MS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2" name="200"/>
          <p:cNvSpPr/>
          <p:nvPr/>
        </p:nvSpPr>
        <p:spPr>
          <a:xfrm>
            <a:off x="5362993" y="843734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 smtClean="0">
                <a:solidFill>
                  <a:prstClr val="black"/>
                </a:solidFill>
                <a:latin typeface="Arial Unicode MS" pitchFamily="34" charset="-122"/>
                <a:ea typeface="微软雅黑" panose="020B0503020204020204" pitchFamily="34" charset="-122"/>
              </a:rPr>
              <a:t>90%</a:t>
            </a:r>
            <a:endParaRPr lang="en-US" altLang="ko-KR" sz="1400" b="1" dirty="0">
              <a:solidFill>
                <a:prstClr val="black"/>
              </a:solidFill>
              <a:latin typeface="Arial Unicode MS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3" name="201"/>
          <p:cNvSpPr/>
          <p:nvPr/>
        </p:nvSpPr>
        <p:spPr>
          <a:xfrm>
            <a:off x="6084036" y="1577099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 smtClean="0">
                <a:solidFill>
                  <a:prstClr val="black"/>
                </a:solidFill>
                <a:latin typeface="Arial Unicode MS" pitchFamily="34" charset="-122"/>
                <a:ea typeface="微软雅黑" panose="020B0503020204020204" pitchFamily="34" charset="-122"/>
              </a:rPr>
              <a:t>62%</a:t>
            </a:r>
            <a:endParaRPr lang="en-US" altLang="ko-KR" sz="1400" b="1" dirty="0">
              <a:solidFill>
                <a:prstClr val="black"/>
              </a:solidFill>
              <a:latin typeface="Arial Unicode MS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33">
        <p:fade/>
      </p:transition>
    </mc:Choice>
    <mc:Fallback xmlns="">
      <p:transition spd="med" advTm="163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9" grpId="0"/>
      <p:bldP spid="130" grpId="0"/>
      <p:bldP spid="131" grpId="0"/>
      <p:bldP spid="132" grpId="0"/>
      <p:bldP spid="13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2050192" y="1094626"/>
            <a:ext cx="2545686" cy="2609415"/>
          </a:xfrm>
          <a:prstGeom prst="rect">
            <a:avLst/>
          </a:prstGeom>
          <a:gradFill flip="none" rotWithShape="1">
            <a:gsLst>
              <a:gs pos="0">
                <a:srgbClr val="3B3B3B">
                  <a:shade val="30000"/>
                  <a:satMod val="115000"/>
                </a:srgbClr>
              </a:gs>
              <a:gs pos="50000">
                <a:srgbClr val="3B3B3B">
                  <a:shade val="67500"/>
                  <a:satMod val="115000"/>
                </a:srgbClr>
              </a:gs>
              <a:gs pos="100000">
                <a:srgbClr val="3B3B3B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rgbClr val="383838"/>
              </a:solidFill>
              <a:latin typeface="+mj-ea"/>
              <a:ea typeface="+mj-ea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928477" y="589388"/>
            <a:ext cx="638029" cy="3741669"/>
            <a:chOff x="928475" y="589388"/>
            <a:chExt cx="638029" cy="3741669"/>
          </a:xfrm>
        </p:grpSpPr>
        <p:sp>
          <p:nvSpPr>
            <p:cNvPr id="16" name="Rectangle 21"/>
            <p:cNvSpPr/>
            <p:nvPr/>
          </p:nvSpPr>
          <p:spPr>
            <a:xfrm>
              <a:off x="928475" y="3858443"/>
              <a:ext cx="48232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solidFill>
                    <a:srgbClr val="000000"/>
                  </a:solidFill>
                  <a:latin typeface="+mj-ea"/>
                  <a:ea typeface="+mj-ea"/>
                  <a:cs typeface="Arial" panose="020B0604020202020204" pitchFamily="34" charset="0"/>
                </a:rPr>
                <a:t>低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" name="Rectangle 22"/>
            <p:cNvSpPr/>
            <p:nvPr/>
          </p:nvSpPr>
          <p:spPr>
            <a:xfrm>
              <a:off x="928475" y="750161"/>
              <a:ext cx="52616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solidFill>
                    <a:srgbClr val="000000"/>
                  </a:solidFill>
                  <a:latin typeface="+mj-ea"/>
                  <a:ea typeface="+mj-ea"/>
                </a:rPr>
                <a:t>高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20" name="Right Arrow 26"/>
            <p:cNvSpPr/>
            <p:nvPr/>
          </p:nvSpPr>
          <p:spPr>
            <a:xfrm rot="16200000">
              <a:off x="-411513" y="2353041"/>
              <a:ext cx="3741669" cy="214364"/>
            </a:xfrm>
            <a:prstGeom prst="rightArrow">
              <a:avLst/>
            </a:prstGeom>
            <a:gradFill flip="none" rotWithShape="1">
              <a:gsLst>
                <a:gs pos="0">
                  <a:srgbClr val="278095"/>
                </a:gs>
                <a:gs pos="50000">
                  <a:srgbClr val="3BC5E1"/>
                </a:gs>
                <a:gs pos="100000">
                  <a:srgbClr val="72D6EA"/>
                </a:gs>
              </a:gsLst>
              <a:lin ang="10800000" scaled="1"/>
              <a:tileRect/>
            </a:gradFill>
            <a:ln w="9525" cap="flat" cmpd="sng" algn="ctr">
              <a:solidFill>
                <a:srgbClr val="383838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22" name="Rectangle 28"/>
            <p:cNvSpPr/>
            <p:nvPr/>
          </p:nvSpPr>
          <p:spPr>
            <a:xfrm rot="16200000">
              <a:off x="410980" y="2351974"/>
              <a:ext cx="165853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rgbClr val="4D4D4D"/>
                  </a:solidFill>
                  <a:latin typeface="+mj-ea"/>
                  <a:ea typeface="+mj-ea"/>
                  <a:cs typeface="Arial" panose="020B0604020202020204" pitchFamily="34" charset="0"/>
                </a:rPr>
                <a:t>单击此处添加</a:t>
              </a:r>
              <a:r>
                <a:rPr lang="zh-CN" altLang="en-US" sz="1200" b="1" dirty="0" smtClean="0">
                  <a:solidFill>
                    <a:srgbClr val="4D4D4D"/>
                  </a:solidFill>
                  <a:latin typeface="+mj-ea"/>
                  <a:ea typeface="+mj-ea"/>
                  <a:cs typeface="Arial" panose="020B0604020202020204" pitchFamily="34" charset="0"/>
                </a:rPr>
                <a:t>文本</a:t>
              </a:r>
              <a:endParaRPr lang="en-US" altLang="zh-CN" sz="1200" b="1" dirty="0">
                <a:solidFill>
                  <a:srgbClr val="4D4D4D"/>
                </a:solidFill>
                <a:latin typeface="+mj-ea"/>
                <a:ea typeface="+mj-ea"/>
                <a:cs typeface="Arial" panose="020B0604020202020204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1410796" y="4179989"/>
            <a:ext cx="3965739" cy="561727"/>
            <a:chOff x="1410795" y="4179990"/>
            <a:chExt cx="3965739" cy="561728"/>
          </a:xfrm>
        </p:grpSpPr>
        <p:sp>
          <p:nvSpPr>
            <p:cNvPr id="18" name="Rectangle 23"/>
            <p:cNvSpPr/>
            <p:nvPr/>
          </p:nvSpPr>
          <p:spPr>
            <a:xfrm>
              <a:off x="1625159" y="4336543"/>
              <a:ext cx="643093" cy="4001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solidFill>
                    <a:srgbClr val="000000"/>
                  </a:solidFill>
                  <a:latin typeface="+mj-ea"/>
                  <a:ea typeface="+mj-ea"/>
                  <a:cs typeface="Arial" panose="020B0604020202020204" pitchFamily="34" charset="0"/>
                </a:rPr>
                <a:t>高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9" name="Rectangle 24"/>
            <p:cNvSpPr/>
            <p:nvPr/>
          </p:nvSpPr>
          <p:spPr>
            <a:xfrm>
              <a:off x="4572668" y="4341607"/>
              <a:ext cx="482320" cy="4001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 smtClean="0">
                  <a:solidFill>
                    <a:srgbClr val="000000"/>
                  </a:solidFill>
                  <a:latin typeface="+mj-ea"/>
                  <a:ea typeface="+mj-ea"/>
                  <a:cs typeface="Arial" panose="020B0604020202020204" pitchFamily="34" charset="0"/>
                </a:rPr>
                <a:t>低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21" name="Right Arrow 27"/>
            <p:cNvSpPr/>
            <p:nvPr/>
          </p:nvSpPr>
          <p:spPr>
            <a:xfrm>
              <a:off x="1410795" y="4179990"/>
              <a:ext cx="3965739" cy="214364"/>
            </a:xfrm>
            <a:prstGeom prst="rightArrow">
              <a:avLst/>
            </a:prstGeom>
            <a:gradFill flip="none" rotWithShape="1">
              <a:gsLst>
                <a:gs pos="0">
                  <a:srgbClr val="278095"/>
                </a:gs>
                <a:gs pos="50000">
                  <a:srgbClr val="3BC5E1"/>
                </a:gs>
                <a:gs pos="100000">
                  <a:srgbClr val="72D6EA"/>
                </a:gs>
              </a:gsLst>
              <a:lin ang="0" scaled="1"/>
              <a:tileRect/>
            </a:gradFill>
            <a:ln w="9525" cap="flat" cmpd="sng" algn="ctr">
              <a:solidFill>
                <a:srgbClr val="383838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white"/>
                </a:solidFill>
                <a:latin typeface="+mj-ea"/>
                <a:ea typeface="+mj-ea"/>
              </a:endParaRPr>
            </a:p>
          </p:txBody>
        </p:sp>
        <p:sp>
          <p:nvSpPr>
            <p:cNvPr id="24" name="Rectangle 29"/>
            <p:cNvSpPr/>
            <p:nvPr/>
          </p:nvSpPr>
          <p:spPr>
            <a:xfrm>
              <a:off x="2804163" y="4394354"/>
              <a:ext cx="173812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b="1" dirty="0" smtClean="0">
                  <a:solidFill>
                    <a:srgbClr val="4D4D4D"/>
                  </a:solidFill>
                  <a:latin typeface="+mj-ea"/>
                  <a:ea typeface="+mj-ea"/>
                  <a:cs typeface="Arial" panose="020B0604020202020204" pitchFamily="34" charset="0"/>
                </a:rPr>
                <a:t>单击此处添加文本</a:t>
              </a:r>
              <a:endParaRPr lang="en-US" sz="1200" b="1" dirty="0">
                <a:solidFill>
                  <a:srgbClr val="4D4D4D"/>
                </a:solidFill>
                <a:latin typeface="+mj-ea"/>
                <a:ea typeface="+mj-ea"/>
                <a:cs typeface="Arial" panose="020B0604020202020204" pitchFamily="34" charset="0"/>
              </a:endParaRPr>
            </a:p>
          </p:txBody>
        </p:sp>
      </p:grpSp>
      <p:grpSp>
        <p:nvGrpSpPr>
          <p:cNvPr id="3078" name="组合 3077"/>
          <p:cNvGrpSpPr/>
          <p:nvPr/>
        </p:nvGrpSpPr>
        <p:grpSpPr>
          <a:xfrm>
            <a:off x="1630064" y="2490232"/>
            <a:ext cx="1626420" cy="1618304"/>
            <a:chOff x="1630064" y="2490231"/>
            <a:chExt cx="1626420" cy="1618304"/>
          </a:xfrm>
        </p:grpSpPr>
        <p:sp>
          <p:nvSpPr>
            <p:cNvPr id="6" name="Freeform 11"/>
            <p:cNvSpPr/>
            <p:nvPr/>
          </p:nvSpPr>
          <p:spPr bwMode="auto">
            <a:xfrm>
              <a:off x="1672266" y="2490231"/>
              <a:ext cx="1584218" cy="1587465"/>
            </a:xfrm>
            <a:custGeom>
              <a:avLst/>
              <a:gdLst/>
              <a:ahLst/>
              <a:cxnLst>
                <a:cxn ang="0">
                  <a:pos x="413" y="346"/>
                </a:cxn>
                <a:cxn ang="0">
                  <a:pos x="345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5" y="0"/>
                </a:cxn>
                <a:cxn ang="0">
                  <a:pos x="413" y="68"/>
                </a:cxn>
                <a:cxn ang="0">
                  <a:pos x="413" y="346"/>
                </a:cxn>
              </a:cxnLst>
              <a:rect l="0" t="0" r="r" b="b"/>
              <a:pathLst>
                <a:path w="413" h="414">
                  <a:moveTo>
                    <a:pt x="413" y="346"/>
                  </a:moveTo>
                  <a:cubicBezTo>
                    <a:pt x="413" y="383"/>
                    <a:pt x="383" y="414"/>
                    <a:pt x="345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0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83" y="0"/>
                    <a:pt x="413" y="31"/>
                    <a:pt x="413" y="68"/>
                  </a:cubicBezTo>
                  <a:lnTo>
                    <a:pt x="413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27" name="组合 26"/>
            <p:cNvGrpSpPr/>
            <p:nvPr/>
          </p:nvGrpSpPr>
          <p:grpSpPr>
            <a:xfrm>
              <a:off x="1630064" y="2521070"/>
              <a:ext cx="1587464" cy="1587465"/>
              <a:chOff x="1630064" y="2521070"/>
              <a:chExt cx="1587464" cy="1587465"/>
            </a:xfrm>
          </p:grpSpPr>
          <p:sp>
            <p:nvSpPr>
              <p:cNvPr id="7" name="Freeform 12"/>
              <p:cNvSpPr/>
              <p:nvPr/>
            </p:nvSpPr>
            <p:spPr bwMode="auto">
              <a:xfrm>
                <a:off x="1630064" y="2521070"/>
                <a:ext cx="1587464" cy="1587465"/>
              </a:xfrm>
              <a:custGeom>
                <a:avLst/>
                <a:gdLst/>
                <a:ahLst/>
                <a:cxnLst>
                  <a:cxn ang="0">
                    <a:pos x="414" y="346"/>
                  </a:cxn>
                  <a:cxn ang="0">
                    <a:pos x="346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6" y="0"/>
                  </a:cxn>
                  <a:cxn ang="0">
                    <a:pos x="414" y="68"/>
                  </a:cxn>
                  <a:cxn ang="0">
                    <a:pos x="414" y="346"/>
                  </a:cxn>
                </a:cxnLst>
                <a:rect l="0" t="0" r="r" b="b"/>
                <a:pathLst>
                  <a:path w="414" h="414">
                    <a:moveTo>
                      <a:pt x="414" y="346"/>
                    </a:moveTo>
                    <a:cubicBezTo>
                      <a:pt x="414" y="383"/>
                      <a:pt x="383" y="414"/>
                      <a:pt x="346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1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1" y="0"/>
                      <a:pt x="68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83" y="0"/>
                      <a:pt x="414" y="31"/>
                      <a:pt x="414" y="68"/>
                    </a:cubicBezTo>
                    <a:lnTo>
                      <a:pt x="414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kern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5" name="Picture 3" descr="E:\1PPT制作\PPT市场\医疗\7.png"/>
              <p:cNvPicPr>
                <a:picLocks noChangeAspect="1" noChangeArrowheads="1"/>
              </p:cNvPicPr>
              <p:nvPr/>
            </p:nvPicPr>
            <p:blipFill>
              <a:blip r:embed="rId3" cstate="screen"/>
              <a:srcRect/>
              <a:stretch>
                <a:fillRect/>
              </a:stretch>
            </p:blipFill>
            <p:spPr bwMode="auto">
              <a:xfrm>
                <a:off x="1990198" y="2765985"/>
                <a:ext cx="813965" cy="10359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73" name="组合 3072"/>
          <p:cNvGrpSpPr/>
          <p:nvPr/>
        </p:nvGrpSpPr>
        <p:grpSpPr>
          <a:xfrm>
            <a:off x="1630064" y="803753"/>
            <a:ext cx="1626420" cy="1618306"/>
            <a:chOff x="1630064" y="803752"/>
            <a:chExt cx="1626420" cy="1618306"/>
          </a:xfrm>
        </p:grpSpPr>
        <p:sp>
          <p:nvSpPr>
            <p:cNvPr id="4" name="Freeform 7"/>
            <p:cNvSpPr/>
            <p:nvPr/>
          </p:nvSpPr>
          <p:spPr bwMode="auto">
            <a:xfrm>
              <a:off x="1672266" y="834593"/>
              <a:ext cx="1584218" cy="1587465"/>
            </a:xfrm>
            <a:custGeom>
              <a:avLst/>
              <a:gdLst/>
              <a:ahLst/>
              <a:cxnLst>
                <a:cxn ang="0">
                  <a:pos x="413" y="346"/>
                </a:cxn>
                <a:cxn ang="0">
                  <a:pos x="345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5" y="0"/>
                </a:cxn>
                <a:cxn ang="0">
                  <a:pos x="413" y="68"/>
                </a:cxn>
                <a:cxn ang="0">
                  <a:pos x="413" y="346"/>
                </a:cxn>
              </a:cxnLst>
              <a:rect l="0" t="0" r="r" b="b"/>
              <a:pathLst>
                <a:path w="413" h="414">
                  <a:moveTo>
                    <a:pt x="413" y="346"/>
                  </a:moveTo>
                  <a:cubicBezTo>
                    <a:pt x="413" y="383"/>
                    <a:pt x="383" y="414"/>
                    <a:pt x="345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0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83" y="0"/>
                    <a:pt x="413" y="31"/>
                    <a:pt x="413" y="68"/>
                  </a:cubicBezTo>
                  <a:lnTo>
                    <a:pt x="413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1630064" y="803752"/>
              <a:ext cx="1587464" cy="1587465"/>
              <a:chOff x="1630064" y="803752"/>
              <a:chExt cx="1587464" cy="1587465"/>
            </a:xfrm>
          </p:grpSpPr>
          <p:sp>
            <p:nvSpPr>
              <p:cNvPr id="5" name="Freeform 10"/>
              <p:cNvSpPr/>
              <p:nvPr/>
            </p:nvSpPr>
            <p:spPr bwMode="auto">
              <a:xfrm>
                <a:off x="1630064" y="803752"/>
                <a:ext cx="1587464" cy="1587465"/>
              </a:xfrm>
              <a:custGeom>
                <a:avLst/>
                <a:gdLst/>
                <a:ahLst/>
                <a:cxnLst>
                  <a:cxn ang="0">
                    <a:pos x="414" y="346"/>
                  </a:cxn>
                  <a:cxn ang="0">
                    <a:pos x="346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6" y="0"/>
                  </a:cxn>
                  <a:cxn ang="0">
                    <a:pos x="414" y="68"/>
                  </a:cxn>
                  <a:cxn ang="0">
                    <a:pos x="414" y="346"/>
                  </a:cxn>
                </a:cxnLst>
                <a:rect l="0" t="0" r="r" b="b"/>
                <a:pathLst>
                  <a:path w="414" h="414">
                    <a:moveTo>
                      <a:pt x="414" y="346"/>
                    </a:moveTo>
                    <a:cubicBezTo>
                      <a:pt x="414" y="383"/>
                      <a:pt x="383" y="414"/>
                      <a:pt x="346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1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1" y="0"/>
                      <a:pt x="68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83" y="0"/>
                      <a:pt x="414" y="31"/>
                      <a:pt x="414" y="68"/>
                    </a:cubicBezTo>
                    <a:lnTo>
                      <a:pt x="414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6" name="Picture 4" descr="E:\1PPT制作\PPT市场\医疗\8.png"/>
              <p:cNvPicPr>
                <a:picLocks noChangeAspect="1" noChangeArrowheads="1"/>
              </p:cNvPicPr>
              <p:nvPr/>
            </p:nvPicPr>
            <p:blipFill>
              <a:blip r:embed="rId4" cstate="screen"/>
              <a:srcRect/>
              <a:stretch>
                <a:fillRect/>
              </a:stretch>
            </p:blipFill>
            <p:spPr bwMode="auto">
              <a:xfrm>
                <a:off x="2122674" y="1322397"/>
                <a:ext cx="1009872" cy="6776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1" name="组合 30"/>
          <p:cNvGrpSpPr/>
          <p:nvPr/>
        </p:nvGrpSpPr>
        <p:grpSpPr>
          <a:xfrm>
            <a:off x="3378223" y="803753"/>
            <a:ext cx="1604564" cy="1618306"/>
            <a:chOff x="3378223" y="803752"/>
            <a:chExt cx="1604564" cy="1618306"/>
          </a:xfrm>
        </p:grpSpPr>
        <p:sp>
          <p:nvSpPr>
            <p:cNvPr id="8" name="Freeform 13"/>
            <p:cNvSpPr/>
            <p:nvPr/>
          </p:nvSpPr>
          <p:spPr bwMode="auto">
            <a:xfrm>
              <a:off x="3378223" y="834593"/>
              <a:ext cx="1587464" cy="1587465"/>
            </a:xfrm>
            <a:custGeom>
              <a:avLst/>
              <a:gdLst/>
              <a:ahLst/>
              <a:cxnLst>
                <a:cxn ang="0">
                  <a:pos x="414" y="346"/>
                </a:cxn>
                <a:cxn ang="0">
                  <a:pos x="346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6" y="0"/>
                </a:cxn>
                <a:cxn ang="0">
                  <a:pos x="414" y="68"/>
                </a:cxn>
                <a:cxn ang="0">
                  <a:pos x="414" y="346"/>
                </a:cxn>
              </a:cxnLst>
              <a:rect l="0" t="0" r="r" b="b"/>
              <a:pathLst>
                <a:path w="414" h="414">
                  <a:moveTo>
                    <a:pt x="414" y="346"/>
                  </a:moveTo>
                  <a:cubicBezTo>
                    <a:pt x="414" y="383"/>
                    <a:pt x="383" y="414"/>
                    <a:pt x="346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1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1" y="0"/>
                    <a:pt x="68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83" y="0"/>
                    <a:pt x="414" y="31"/>
                    <a:pt x="414" y="68"/>
                  </a:cubicBezTo>
                  <a:lnTo>
                    <a:pt x="414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3398569" y="803752"/>
              <a:ext cx="1584218" cy="1587465"/>
              <a:chOff x="3398569" y="803752"/>
              <a:chExt cx="1584218" cy="1587465"/>
            </a:xfrm>
          </p:grpSpPr>
          <p:sp>
            <p:nvSpPr>
              <p:cNvPr id="9" name="Freeform 14"/>
              <p:cNvSpPr/>
              <p:nvPr/>
            </p:nvSpPr>
            <p:spPr bwMode="auto">
              <a:xfrm>
                <a:off x="3398569" y="803752"/>
                <a:ext cx="1584218" cy="1587465"/>
              </a:xfrm>
              <a:custGeom>
                <a:avLst/>
                <a:gdLst/>
                <a:ahLst/>
                <a:cxnLst>
                  <a:cxn ang="0">
                    <a:pos x="413" y="346"/>
                  </a:cxn>
                  <a:cxn ang="0">
                    <a:pos x="345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5" y="0"/>
                  </a:cxn>
                  <a:cxn ang="0">
                    <a:pos x="413" y="68"/>
                  </a:cxn>
                  <a:cxn ang="0">
                    <a:pos x="413" y="346"/>
                  </a:cxn>
                </a:cxnLst>
                <a:rect l="0" t="0" r="r" b="b"/>
                <a:pathLst>
                  <a:path w="413" h="414">
                    <a:moveTo>
                      <a:pt x="413" y="346"/>
                    </a:moveTo>
                    <a:cubicBezTo>
                      <a:pt x="413" y="383"/>
                      <a:pt x="383" y="414"/>
                      <a:pt x="345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0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0" y="0"/>
                      <a:pt x="68" y="0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83" y="0"/>
                      <a:pt x="413" y="31"/>
                      <a:pt x="413" y="68"/>
                    </a:cubicBezTo>
                    <a:lnTo>
                      <a:pt x="413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kern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7" name="Picture 5" descr="E:\1PPT制作\PPT市场\医疗\4.png"/>
              <p:cNvPicPr>
                <a:picLocks noChangeAspect="1" noChangeArrowheads="1"/>
              </p:cNvPicPr>
              <p:nvPr/>
            </p:nvPicPr>
            <p:blipFill>
              <a:blip r:embed="rId5" cstate="screen"/>
              <a:srcRect/>
              <a:stretch>
                <a:fillRect/>
              </a:stretch>
            </p:blipFill>
            <p:spPr bwMode="auto">
              <a:xfrm>
                <a:off x="3878485" y="1261193"/>
                <a:ext cx="721337" cy="8000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72" name="组合 3071"/>
          <p:cNvGrpSpPr/>
          <p:nvPr/>
        </p:nvGrpSpPr>
        <p:grpSpPr>
          <a:xfrm>
            <a:off x="3378223" y="2490232"/>
            <a:ext cx="1623174" cy="1618304"/>
            <a:chOff x="3378223" y="2490231"/>
            <a:chExt cx="1623174" cy="1618304"/>
          </a:xfrm>
        </p:grpSpPr>
        <p:sp>
          <p:nvSpPr>
            <p:cNvPr id="10" name="Freeform 15"/>
            <p:cNvSpPr/>
            <p:nvPr/>
          </p:nvSpPr>
          <p:spPr bwMode="auto">
            <a:xfrm>
              <a:off x="3378223" y="2490231"/>
              <a:ext cx="1587464" cy="1587465"/>
            </a:xfrm>
            <a:custGeom>
              <a:avLst/>
              <a:gdLst/>
              <a:ahLst/>
              <a:cxnLst>
                <a:cxn ang="0">
                  <a:pos x="414" y="346"/>
                </a:cxn>
                <a:cxn ang="0">
                  <a:pos x="346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6" y="0"/>
                </a:cxn>
                <a:cxn ang="0">
                  <a:pos x="414" y="68"/>
                </a:cxn>
                <a:cxn ang="0">
                  <a:pos x="414" y="346"/>
                </a:cxn>
              </a:cxnLst>
              <a:rect l="0" t="0" r="r" b="b"/>
              <a:pathLst>
                <a:path w="414" h="414">
                  <a:moveTo>
                    <a:pt x="414" y="346"/>
                  </a:moveTo>
                  <a:cubicBezTo>
                    <a:pt x="414" y="383"/>
                    <a:pt x="383" y="414"/>
                    <a:pt x="346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1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1" y="0"/>
                    <a:pt x="68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83" y="0"/>
                    <a:pt x="414" y="31"/>
                    <a:pt x="414" y="68"/>
                  </a:cubicBezTo>
                  <a:lnTo>
                    <a:pt x="414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FFFFFF">
                    <a:lumMod val="75000"/>
                    <a:shade val="30000"/>
                    <a:satMod val="115000"/>
                  </a:sysClr>
                </a:gs>
                <a:gs pos="50000">
                  <a:sysClr val="window" lastClr="FFFFFF">
                    <a:lumMod val="7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417179" y="2521070"/>
              <a:ext cx="1584218" cy="1587465"/>
              <a:chOff x="3417179" y="2521070"/>
              <a:chExt cx="1584218" cy="1587465"/>
            </a:xfrm>
          </p:grpSpPr>
          <p:sp>
            <p:nvSpPr>
              <p:cNvPr id="11" name="Freeform 16"/>
              <p:cNvSpPr/>
              <p:nvPr/>
            </p:nvSpPr>
            <p:spPr bwMode="auto">
              <a:xfrm>
                <a:off x="3417179" y="2521070"/>
                <a:ext cx="1584218" cy="1587465"/>
              </a:xfrm>
              <a:custGeom>
                <a:avLst/>
                <a:gdLst/>
                <a:ahLst/>
                <a:cxnLst>
                  <a:cxn ang="0">
                    <a:pos x="413" y="346"/>
                  </a:cxn>
                  <a:cxn ang="0">
                    <a:pos x="345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5" y="0"/>
                  </a:cxn>
                  <a:cxn ang="0">
                    <a:pos x="413" y="68"/>
                  </a:cxn>
                  <a:cxn ang="0">
                    <a:pos x="413" y="346"/>
                  </a:cxn>
                </a:cxnLst>
                <a:rect l="0" t="0" r="r" b="b"/>
                <a:pathLst>
                  <a:path w="413" h="414">
                    <a:moveTo>
                      <a:pt x="413" y="346"/>
                    </a:moveTo>
                    <a:cubicBezTo>
                      <a:pt x="413" y="383"/>
                      <a:pt x="383" y="414"/>
                      <a:pt x="345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0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0" y="0"/>
                      <a:pt x="68" y="0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83" y="0"/>
                      <a:pt x="413" y="31"/>
                      <a:pt x="413" y="68"/>
                    </a:cubicBezTo>
                    <a:lnTo>
                      <a:pt x="413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kern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4" name="Picture 2" descr="E:\1PPT制作\PPT市场\医疗\5.png"/>
              <p:cNvPicPr>
                <a:picLocks noChangeAspect="1" noChangeArrowheads="1"/>
              </p:cNvPicPr>
              <p:nvPr/>
            </p:nvPicPr>
            <p:blipFill>
              <a:blip r:embed="rId6" cstate="screen"/>
              <a:srcRect/>
              <a:stretch>
                <a:fillRect/>
              </a:stretch>
            </p:blipFill>
            <p:spPr bwMode="auto">
              <a:xfrm>
                <a:off x="3770750" y="3002901"/>
                <a:ext cx="936805" cy="7990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9" name="Rectangle 11"/>
          <p:cNvSpPr/>
          <p:nvPr/>
        </p:nvSpPr>
        <p:spPr>
          <a:xfrm>
            <a:off x="5724128" y="1830389"/>
            <a:ext cx="20332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b="1" dirty="0" smtClean="0">
                <a:solidFill>
                  <a:srgbClr val="383838">
                    <a:lumMod val="50000"/>
                  </a:srgbClr>
                </a:solidFill>
                <a:latin typeface="Calibri" panose="020F0502020204030204"/>
                <a:cs typeface="Arial" panose="020B0604020202020204" pitchFamily="34" charset="0"/>
              </a:rPr>
              <a:t>添加标题</a:t>
            </a:r>
            <a:endParaRPr lang="en-US" sz="2400" b="1" dirty="0">
              <a:solidFill>
                <a:srgbClr val="383838">
                  <a:lumMod val="50000"/>
                </a:srgbClr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5589004" y="2361715"/>
            <a:ext cx="234418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 smtClean="0">
                <a:solidFill>
                  <a:srgbClr val="4D4D4D"/>
                </a:solidFill>
                <a:latin typeface="Calibri" panose="020F0502020204030204"/>
              </a:rPr>
              <a:t>在此添加文本</a:t>
            </a:r>
            <a:endParaRPr lang="en-US" altLang="zh-CN" sz="2000" dirty="0" smtClean="0">
              <a:solidFill>
                <a:srgbClr val="4D4D4D"/>
              </a:solidFill>
              <a:latin typeface="Calibri" panose="020F0502020204030204"/>
            </a:endParaRPr>
          </a:p>
          <a:p>
            <a:pPr algn="ctr"/>
            <a:r>
              <a:rPr lang="zh-CN" altLang="en-US" sz="2000" dirty="0">
                <a:solidFill>
                  <a:srgbClr val="4D4D4D"/>
                </a:solidFill>
                <a:latin typeface="Calibri" panose="020F0502020204030204"/>
              </a:rPr>
              <a:t>在此添加</a:t>
            </a:r>
            <a:r>
              <a:rPr lang="zh-CN" altLang="en-US" sz="2000" dirty="0" smtClean="0">
                <a:solidFill>
                  <a:srgbClr val="4D4D4D"/>
                </a:solidFill>
                <a:latin typeface="Calibri" panose="020F0502020204030204"/>
              </a:rPr>
              <a:t>文本</a:t>
            </a:r>
            <a:endParaRPr lang="en-US" altLang="zh-CN" sz="2000" dirty="0" smtClean="0">
              <a:solidFill>
                <a:srgbClr val="4D4D4D"/>
              </a:solidFill>
              <a:latin typeface="Calibri" panose="020F0502020204030204"/>
            </a:endParaRPr>
          </a:p>
          <a:p>
            <a:pPr algn="ctr"/>
            <a:r>
              <a:rPr lang="zh-CN" altLang="en-US" sz="2000" dirty="0" smtClean="0">
                <a:solidFill>
                  <a:srgbClr val="4D4D4D"/>
                </a:solidFill>
                <a:latin typeface="Calibri" panose="020F0502020204030204"/>
              </a:rPr>
              <a:t>在此</a:t>
            </a:r>
            <a:r>
              <a:rPr lang="zh-CN" altLang="en-US" sz="2000" dirty="0">
                <a:solidFill>
                  <a:srgbClr val="4D4D4D"/>
                </a:solidFill>
                <a:latin typeface="Calibri" panose="020F0502020204030204"/>
              </a:rPr>
              <a:t>添加</a:t>
            </a:r>
            <a:r>
              <a:rPr lang="zh-CN" altLang="en-US" sz="2000" dirty="0" smtClean="0">
                <a:solidFill>
                  <a:srgbClr val="4D4D4D"/>
                </a:solidFill>
                <a:latin typeface="Calibri" panose="020F0502020204030204"/>
              </a:rPr>
              <a:t>文本</a:t>
            </a:r>
            <a:endParaRPr lang="en-US" altLang="zh-CN" sz="2000" dirty="0" smtClean="0">
              <a:solidFill>
                <a:srgbClr val="4D4D4D"/>
              </a:solidFill>
              <a:latin typeface="Calibri" panose="020F0502020204030204"/>
            </a:endParaRPr>
          </a:p>
          <a:p>
            <a:pPr algn="ctr"/>
            <a:r>
              <a:rPr lang="zh-CN" altLang="en-US" sz="2000" dirty="0">
                <a:solidFill>
                  <a:srgbClr val="4D4D4D"/>
                </a:solidFill>
                <a:latin typeface="Calibri" panose="020F0502020204030204"/>
              </a:rPr>
              <a:t>在此添加文本</a:t>
            </a:r>
            <a:endParaRPr lang="en-US" altLang="zh-CN" sz="2000" dirty="0">
              <a:solidFill>
                <a:srgbClr val="4D4D4D"/>
              </a:solidFill>
              <a:latin typeface="Calibri" panose="020F0502020204030204"/>
            </a:endParaRPr>
          </a:p>
          <a:p>
            <a:pPr algn="ctr"/>
            <a:endParaRPr lang="en-US" sz="2000" dirty="0">
              <a:solidFill>
                <a:srgbClr val="4D4D4D"/>
              </a:solidFill>
              <a:latin typeface="Calibri" panose="020F0502020204030204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459">
        <p:fade/>
      </p:transition>
    </mc:Choice>
    <mc:Fallback xmlns="">
      <p:transition spd="med" advTm="245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0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0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0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9" grpId="0"/>
      <p:bldP spid="4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5627025" y="2022780"/>
            <a:ext cx="1512168" cy="1134126"/>
            <a:chOff x="5868144" y="2649035"/>
            <a:chExt cx="2016224" cy="1512168"/>
          </a:xfrm>
        </p:grpSpPr>
        <p:sp>
          <p:nvSpPr>
            <p:cNvPr id="4" name="右箭头 3"/>
            <p:cNvSpPr/>
            <p:nvPr/>
          </p:nvSpPr>
          <p:spPr>
            <a:xfrm>
              <a:off x="5868144" y="2649035"/>
              <a:ext cx="2016224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7809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050">
                <a:solidFill>
                  <a:schemeClr val="bg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5890303" y="3205064"/>
              <a:ext cx="171029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添加标题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2116635" y="2013689"/>
            <a:ext cx="2700300" cy="1134126"/>
            <a:chOff x="1187624" y="2636913"/>
            <a:chExt cx="3600400" cy="1512168"/>
          </a:xfrm>
        </p:grpSpPr>
        <p:sp>
          <p:nvSpPr>
            <p:cNvPr id="7" name="右箭头 6"/>
            <p:cNvSpPr/>
            <p:nvPr/>
          </p:nvSpPr>
          <p:spPr>
            <a:xfrm flipH="1">
              <a:off x="1187624" y="2636913"/>
              <a:ext cx="3600400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7809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050">
                <a:solidFill>
                  <a:schemeClr val="bg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691680" y="3190141"/>
              <a:ext cx="136815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00" b="1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添加标题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4663260" y="771550"/>
            <a:ext cx="1134126" cy="1404156"/>
            <a:chOff x="4583124" y="980728"/>
            <a:chExt cx="1512168" cy="1872208"/>
          </a:xfrm>
        </p:grpSpPr>
        <p:sp>
          <p:nvSpPr>
            <p:cNvPr id="10" name="右箭头 9"/>
            <p:cNvSpPr/>
            <p:nvPr/>
          </p:nvSpPr>
          <p:spPr>
            <a:xfrm rot="5400000" flipH="1">
              <a:off x="4403104" y="1160748"/>
              <a:ext cx="1872208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0B3D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032816" y="1516928"/>
              <a:ext cx="553997" cy="1191992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1500" dirty="0"/>
                <a:t>添加标题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4654917" y="2985796"/>
            <a:ext cx="1134126" cy="1404156"/>
            <a:chOff x="4572000" y="3933056"/>
            <a:chExt cx="1512168" cy="1872208"/>
          </a:xfrm>
        </p:grpSpPr>
        <p:sp>
          <p:nvSpPr>
            <p:cNvPr id="13" name="右箭头 12"/>
            <p:cNvSpPr/>
            <p:nvPr/>
          </p:nvSpPr>
          <p:spPr>
            <a:xfrm rot="16200000" flipH="1" flipV="1">
              <a:off x="4391980" y="4113076"/>
              <a:ext cx="1872208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0B3D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044380" y="4064856"/>
              <a:ext cx="553997" cy="1323439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>
              <a:defPPr>
                <a:defRPr lang="zh-CN"/>
              </a:defPPr>
              <a:lvl1pPr algn="ctr"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1500" dirty="0"/>
                <a:t>添加标题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7451936" y="2135104"/>
            <a:ext cx="1296528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1121" y="2115038"/>
            <a:ext cx="1728192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71416" y="1011200"/>
            <a:ext cx="1890210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57384" y="3390464"/>
            <a:ext cx="1304245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anose="020B0503020204020204" pitchFamily="34" charset="-122"/>
              </a:rPr>
              <a:t>单击此处添加文本</a:t>
            </a:r>
            <a:endParaRPr lang="en-US" altLang="zh-CN" sz="1050" dirty="0">
              <a:latin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391">
        <p:fade/>
      </p:transition>
    </mc:Choice>
    <mc:Fallback xmlns="">
      <p:transition spd="med" advTm="239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3647448" y="906754"/>
            <a:ext cx="2405359" cy="2222636"/>
            <a:chOff x="3133258" y="1443611"/>
            <a:chExt cx="3445229" cy="3264667"/>
          </a:xfrm>
        </p:grpSpPr>
        <p:sp>
          <p:nvSpPr>
            <p:cNvPr id="4" name="Freeform 9"/>
            <p:cNvSpPr/>
            <p:nvPr/>
          </p:nvSpPr>
          <p:spPr bwMode="auto">
            <a:xfrm>
              <a:off x="4473240" y="1443611"/>
              <a:ext cx="2105247" cy="2842038"/>
            </a:xfrm>
            <a:custGeom>
              <a:avLst/>
              <a:gdLst/>
              <a:ahLst/>
              <a:cxnLst/>
              <a:rect l="l" t="t" r="r" b="b"/>
              <a:pathLst>
                <a:path w="2105248" h="2842038">
                  <a:moveTo>
                    <a:pt x="5953" y="0"/>
                  </a:moveTo>
                  <a:lnTo>
                    <a:pt x="9525" y="4763"/>
                  </a:lnTo>
                  <a:cubicBezTo>
                    <a:pt x="1063824" y="0"/>
                    <a:pt x="1921669" y="858441"/>
                    <a:pt x="1921669" y="1916907"/>
                  </a:cubicBezTo>
                  <a:lnTo>
                    <a:pt x="1924050" y="1919288"/>
                  </a:lnTo>
                  <a:cubicBezTo>
                    <a:pt x="1922092" y="2151415"/>
                    <a:pt x="1879444" y="2375887"/>
                    <a:pt x="1800364" y="2582669"/>
                  </a:cubicBezTo>
                  <a:lnTo>
                    <a:pt x="2105248" y="2718412"/>
                  </a:lnTo>
                  <a:lnTo>
                    <a:pt x="1118368" y="2842038"/>
                  </a:lnTo>
                  <a:lnTo>
                    <a:pt x="549889" y="2025921"/>
                  </a:lnTo>
                  <a:lnTo>
                    <a:pt x="922384" y="2191767"/>
                  </a:lnTo>
                  <a:cubicBezTo>
                    <a:pt x="949698" y="2105069"/>
                    <a:pt x="963811" y="2012556"/>
                    <a:pt x="963811" y="1916907"/>
                  </a:cubicBezTo>
                  <a:lnTo>
                    <a:pt x="962025" y="1919288"/>
                  </a:lnTo>
                  <a:cubicBezTo>
                    <a:pt x="963811" y="1433513"/>
                    <a:pt x="606624" y="1033463"/>
                    <a:pt x="141685" y="967383"/>
                  </a:cubicBezTo>
                  <a:lnTo>
                    <a:pt x="142875" y="966788"/>
                  </a:lnTo>
                  <a:lnTo>
                    <a:pt x="361950" y="471488"/>
                  </a:lnTo>
                  <a:lnTo>
                    <a:pt x="0" y="4763"/>
                  </a:lnTo>
                  <a:cubicBezTo>
                    <a:pt x="4763" y="0"/>
                    <a:pt x="5358" y="0"/>
                    <a:pt x="5953" y="0"/>
                  </a:cubicBezTo>
                  <a:close/>
                </a:path>
              </a:pathLst>
            </a:custGeom>
            <a:solidFill>
              <a:srgbClr val="20B3D2"/>
            </a:solidFill>
            <a:ln w="317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rIns="0" anchor="b"/>
            <a:lstStyle/>
            <a:p>
              <a:pPr defTabSz="685800">
                <a:lnSpc>
                  <a:spcPct val="120000"/>
                </a:lnSpc>
                <a:spcBef>
                  <a:spcPts val="450"/>
                </a:spcBef>
                <a:spcAft>
                  <a:spcPts val="450"/>
                </a:spcAft>
                <a:defRPr/>
              </a:pPr>
              <a:endParaRPr lang="zh-CN" altLang="en-US" sz="2100" b="1" kern="0"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 rot="4010461">
              <a:off x="3133178" y="2013275"/>
              <a:ext cx="2695083" cy="26949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spcFirstLastPara="1" lIns="67208" tIns="33605" rIns="67208" bIns="33605" numCol="1" anchor="ctr">
              <a:prstTxWarp prst="textArchUp">
                <a:avLst/>
              </a:prstTxWarp>
            </a:bodyPr>
            <a:lstStyle/>
            <a:p>
              <a:pPr algn="ctr" defTabSz="685800">
                <a:defRPr/>
              </a:pPr>
              <a:r>
                <a:rPr lang="zh-CN" altLang="en-US" sz="135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</a:p>
          </p:txBody>
        </p:sp>
      </p:grpSp>
      <p:grpSp>
        <p:nvGrpSpPr>
          <p:cNvPr id="6" name="组合 1"/>
          <p:cNvGrpSpPr/>
          <p:nvPr/>
        </p:nvGrpSpPr>
        <p:grpSpPr>
          <a:xfrm>
            <a:off x="3249643" y="699543"/>
            <a:ext cx="2279321" cy="2429848"/>
            <a:chOff x="2563478" y="1139253"/>
            <a:chExt cx="3264704" cy="3569025"/>
          </a:xfrm>
        </p:grpSpPr>
        <p:sp>
          <p:nvSpPr>
            <p:cNvPr id="7" name="Freeform 8"/>
            <p:cNvSpPr/>
            <p:nvPr/>
          </p:nvSpPr>
          <p:spPr bwMode="auto">
            <a:xfrm>
              <a:off x="2563478" y="1139253"/>
              <a:ext cx="2153126" cy="3176145"/>
            </a:xfrm>
            <a:custGeom>
              <a:avLst/>
              <a:gdLst/>
              <a:ahLst/>
              <a:cxnLst/>
              <a:rect l="l" t="t" r="r" b="b"/>
              <a:pathLst>
                <a:path w="2153126" h="3176145">
                  <a:moveTo>
                    <a:pt x="1552623" y="0"/>
                  </a:moveTo>
                  <a:lnTo>
                    <a:pt x="2153126" y="792850"/>
                  </a:lnTo>
                  <a:lnTo>
                    <a:pt x="1730588" y="1693225"/>
                  </a:lnTo>
                  <a:lnTo>
                    <a:pt x="1688096" y="1288939"/>
                  </a:lnTo>
                  <a:cubicBezTo>
                    <a:pt x="1270395" y="1390256"/>
                    <a:pt x="957858" y="1769253"/>
                    <a:pt x="957858" y="2221264"/>
                  </a:cubicBezTo>
                  <a:lnTo>
                    <a:pt x="957262" y="2223645"/>
                  </a:lnTo>
                  <a:cubicBezTo>
                    <a:pt x="957858" y="2346875"/>
                    <a:pt x="982266" y="2467723"/>
                    <a:pt x="1026914" y="2577856"/>
                  </a:cubicBezTo>
                  <a:lnTo>
                    <a:pt x="1023937" y="2576070"/>
                  </a:lnTo>
                  <a:lnTo>
                    <a:pt x="490538" y="2633220"/>
                  </a:lnTo>
                  <a:lnTo>
                    <a:pt x="261938" y="3176145"/>
                  </a:lnTo>
                  <a:cubicBezTo>
                    <a:pt x="94059" y="2898730"/>
                    <a:pt x="0" y="2570712"/>
                    <a:pt x="0" y="2221264"/>
                  </a:cubicBezTo>
                  <a:lnTo>
                    <a:pt x="4763" y="2223645"/>
                  </a:lnTo>
                  <a:cubicBezTo>
                    <a:pt x="245" y="1274964"/>
                    <a:pt x="686173" y="488583"/>
                    <a:pt x="1587696" y="333690"/>
                  </a:cubicBezTo>
                  <a:close/>
                </a:path>
              </a:pathLst>
            </a:custGeom>
            <a:solidFill>
              <a:srgbClr val="20B3D2"/>
            </a:solidFill>
            <a:ln w="317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defTabSz="685800">
                <a:lnSpc>
                  <a:spcPct val="120000"/>
                </a:lnSpc>
                <a:defRPr/>
              </a:pPr>
              <a:endParaRPr lang="zh-CN" altLang="en-US" sz="900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 rot="18410461">
              <a:off x="3133178" y="2013275"/>
              <a:ext cx="2695083" cy="269492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spcFirstLastPara="1" lIns="67208" tIns="33605" rIns="67208" bIns="33605" numCol="1" anchor="ctr">
              <a:prstTxWarp prst="textArchUp">
                <a:avLst/>
              </a:prstTxWarp>
            </a:bodyPr>
            <a:lstStyle/>
            <a:p>
              <a:pPr algn="ctr" defTabSz="685800">
                <a:defRPr/>
              </a:pPr>
              <a:r>
                <a:rPr lang="zh-CN" altLang="en-US" sz="135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</a:p>
          </p:txBody>
        </p:sp>
      </p:grpSp>
      <p:grpSp>
        <p:nvGrpSpPr>
          <p:cNvPr id="9" name="组合 9"/>
          <p:cNvGrpSpPr/>
          <p:nvPr/>
        </p:nvGrpSpPr>
        <p:grpSpPr>
          <a:xfrm>
            <a:off x="3374141" y="1294537"/>
            <a:ext cx="2372606" cy="2222336"/>
            <a:chOff x="2741799" y="2013196"/>
            <a:chExt cx="3398317" cy="3264226"/>
          </a:xfrm>
        </p:grpSpPr>
        <p:sp>
          <p:nvSpPr>
            <p:cNvPr id="10" name="Freeform 10"/>
            <p:cNvSpPr/>
            <p:nvPr/>
          </p:nvSpPr>
          <p:spPr bwMode="auto">
            <a:xfrm>
              <a:off x="2741799" y="3787480"/>
              <a:ext cx="3398317" cy="1489942"/>
            </a:xfrm>
            <a:custGeom>
              <a:avLst/>
              <a:gdLst/>
              <a:ahLst/>
              <a:cxnLst/>
              <a:rect l="l" t="t" r="r" b="b"/>
              <a:pathLst>
                <a:path w="3398317" h="1489942">
                  <a:moveTo>
                    <a:pt x="1377394" y="0"/>
                  </a:moveTo>
                  <a:lnTo>
                    <a:pt x="1050692" y="237364"/>
                  </a:lnTo>
                  <a:cubicBezTo>
                    <a:pt x="1222176" y="418784"/>
                    <a:pt x="1466843" y="531489"/>
                    <a:pt x="1737600" y="531489"/>
                  </a:cubicBezTo>
                  <a:lnTo>
                    <a:pt x="1741171" y="527917"/>
                  </a:lnTo>
                  <a:cubicBezTo>
                    <a:pt x="2043553" y="531489"/>
                    <a:pt x="2316172" y="388019"/>
                    <a:pt x="2491173" y="164181"/>
                  </a:cubicBezTo>
                  <a:lnTo>
                    <a:pt x="2493554" y="165967"/>
                  </a:lnTo>
                  <a:lnTo>
                    <a:pt x="2807840" y="604117"/>
                  </a:lnTo>
                  <a:lnTo>
                    <a:pt x="3398317" y="527917"/>
                  </a:lnTo>
                  <a:cubicBezTo>
                    <a:pt x="3066769" y="1102989"/>
                    <a:pt x="2447720" y="1489347"/>
                    <a:pt x="1737600" y="1489347"/>
                  </a:cubicBezTo>
                  <a:lnTo>
                    <a:pt x="1741171" y="1489942"/>
                  </a:lnTo>
                  <a:cubicBezTo>
                    <a:pt x="1148863" y="1489399"/>
                    <a:pt x="621661" y="1222932"/>
                    <a:pt x="272510" y="802746"/>
                  </a:cubicBezTo>
                  <a:lnTo>
                    <a:pt x="0" y="1000736"/>
                  </a:lnTo>
                  <a:lnTo>
                    <a:pt x="386377" y="84260"/>
                  </a:lnTo>
                  <a:close/>
                </a:path>
              </a:pathLst>
            </a:custGeom>
            <a:solidFill>
              <a:srgbClr val="278095"/>
            </a:solidFill>
            <a:ln w="127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tIns="33605" rIns="0" bIns="33605" anchor="ctr"/>
            <a:lstStyle/>
            <a:p>
              <a:pPr marL="137160" indent="-137160" defTabSz="685800">
                <a:lnSpc>
                  <a:spcPct val="120000"/>
                </a:lnSpc>
                <a:spcBef>
                  <a:spcPts val="450"/>
                </a:spcBef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endParaRPr lang="zh-CN" altLang="en-US" sz="1050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 rot="11210461">
              <a:off x="3133257" y="2013196"/>
              <a:ext cx="2694924" cy="269508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spcFirstLastPara="1" lIns="67208" tIns="33605" rIns="67208" bIns="33605" numCol="1" anchor="ctr">
              <a:prstTxWarp prst="textArchUp">
                <a:avLst/>
              </a:prstTxWarp>
            </a:bodyPr>
            <a:lstStyle/>
            <a:p>
              <a:pPr algn="ctr" defTabSz="685800">
                <a:defRPr/>
              </a:pPr>
              <a:r>
                <a:rPr lang="zh-CN" altLang="en-US" sz="135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</a:p>
          </p:txBody>
        </p:sp>
      </p:grpSp>
      <p:cxnSp>
        <p:nvCxnSpPr>
          <p:cNvPr id="12" name="直接连接符 11"/>
          <p:cNvCxnSpPr/>
          <p:nvPr/>
        </p:nvCxnSpPr>
        <p:spPr>
          <a:xfrm>
            <a:off x="1475656" y="1780726"/>
            <a:ext cx="2069208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dash"/>
            <a:headEnd type="oval" w="med" len="med"/>
            <a:tailEnd type="oval" w="med" len="med"/>
          </a:ln>
          <a:effectLst/>
        </p:spPr>
      </p:cxnSp>
      <p:cxnSp>
        <p:nvCxnSpPr>
          <p:cNvPr id="13" name="直接连接符 12"/>
          <p:cNvCxnSpPr/>
          <p:nvPr/>
        </p:nvCxnSpPr>
        <p:spPr>
          <a:xfrm>
            <a:off x="5746749" y="1780726"/>
            <a:ext cx="242565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1544485" y="1301666"/>
            <a:ext cx="1579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algn="r"/>
            <a:r>
              <a:rPr lang="zh-CN" altLang="en-US" sz="1200" dirty="0"/>
              <a:t>单击此处添加文本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61421" y="1301665"/>
            <a:ext cx="1579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r>
              <a:rPr lang="zh-CN" altLang="en-US" sz="1200" dirty="0"/>
              <a:t>单击此处添加文本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67070" y="3777885"/>
            <a:ext cx="1579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r>
              <a:rPr lang="zh-CN" altLang="en-US" sz="1200" dirty="0"/>
              <a:t>单击此处添加文本</a:t>
            </a:r>
          </a:p>
        </p:txBody>
      </p:sp>
      <p:cxnSp>
        <p:nvCxnSpPr>
          <p:cNvPr id="17" name="直接连接符 16"/>
          <p:cNvCxnSpPr/>
          <p:nvPr/>
        </p:nvCxnSpPr>
        <p:spPr>
          <a:xfrm flipV="1">
            <a:off x="4588205" y="3422296"/>
            <a:ext cx="0" cy="94965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dash"/>
            <a:headEnd type="oval" w="med" len="med"/>
            <a:tailEnd type="oval" w="med" len="med"/>
          </a:ln>
          <a:effectLst/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707">
        <p:fade/>
      </p:transition>
    </mc:Choice>
    <mc:Fallback xmlns="">
      <p:transition spd="med" advTm="270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图表 2"/>
          <p:cNvGraphicFramePr/>
          <p:nvPr/>
        </p:nvGraphicFramePr>
        <p:xfrm>
          <a:off x="1115618" y="985671"/>
          <a:ext cx="3426411" cy="3242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" name="组合 3"/>
          <p:cNvGrpSpPr/>
          <p:nvPr/>
        </p:nvGrpSpPr>
        <p:grpSpPr>
          <a:xfrm>
            <a:off x="5220072" y="985671"/>
            <a:ext cx="2950200" cy="3242264"/>
            <a:chOff x="4572000" y="1628800"/>
            <a:chExt cx="3933600" cy="4323018"/>
          </a:xfrm>
        </p:grpSpPr>
        <p:sp>
          <p:nvSpPr>
            <p:cNvPr id="5" name="矩形 4"/>
            <p:cNvSpPr/>
            <p:nvPr/>
          </p:nvSpPr>
          <p:spPr>
            <a:xfrm>
              <a:off x="4572000" y="1963489"/>
              <a:ext cx="3933600" cy="398832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 w="12700">
              <a:solidFill>
                <a:srgbClr val="20B3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200"/>
            </a:p>
          </p:txBody>
        </p:sp>
        <p:sp>
          <p:nvSpPr>
            <p:cNvPr id="6" name="矩形 5"/>
            <p:cNvSpPr/>
            <p:nvPr/>
          </p:nvSpPr>
          <p:spPr>
            <a:xfrm>
              <a:off x="4572000" y="1628800"/>
              <a:ext cx="3933600" cy="360000"/>
            </a:xfrm>
            <a:prstGeom prst="rect">
              <a:avLst/>
            </a:prstGeom>
            <a:solidFill>
              <a:srgbClr val="20B3D2"/>
            </a:solidFill>
            <a:ln w="12700">
              <a:solidFill>
                <a:srgbClr val="20B3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zh-CN" altLang="en-US" sz="1350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842571" y="2207403"/>
              <a:ext cx="3401839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630" indent="-214630">
                <a:buFont typeface="Arial" panose="020B0604020202020204" pitchFamily="34" charset="0"/>
                <a:buChar char="•"/>
              </a:pPr>
              <a:r>
                <a:rPr lang="zh-CN" altLang="en-US" sz="1200" dirty="0"/>
                <a:t>单击此处添加文本，单击此处添加文本，单击此处添加文本，单击此处添加文本。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810608" y="3359530"/>
              <a:ext cx="3433800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630" indent="-214630">
                <a:buFont typeface="Arial" panose="020B0604020202020204" pitchFamily="34" charset="0"/>
                <a:buChar char="•"/>
              </a:pPr>
              <a:r>
                <a:rPr lang="zh-CN" altLang="en-US" sz="1200" dirty="0"/>
                <a:t>单击此处添加文本，单击此处添加文本，单击此处添加文本，单击此处添加文本。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823808" y="4609990"/>
              <a:ext cx="3420600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630" indent="-214630">
                <a:buFont typeface="Arial" panose="020B0604020202020204" pitchFamily="34" charset="0"/>
                <a:buChar char="•"/>
              </a:pPr>
              <a:r>
                <a:rPr lang="zh-CN" altLang="en-US" sz="1200" dirty="0"/>
                <a:t>单击此处添加文本，单击此处添加文本，单击此处添加文本，单击此处添加文本。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758942" y="2330903"/>
            <a:ext cx="8640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60%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09">
        <p:fade/>
      </p:transition>
    </mc:Choice>
    <mc:Fallback xmlns="">
      <p:transition spd="med" advTm="160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f7b76aca61b9353765aaee11643dc5ea99a3f3"/>
  <p:tag name="ISPRING_PRESENTATION_TITLE" val="www.1ppt.co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0EoqWKAUiRp6bwLw4m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5hr3Ip00.fAzN5jTTh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QHV04eYUWkkGoaBq9l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LabUtT20Sy8MitHJcP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xB5GzJDk6_cIrl8hTq4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lR_RjMrUqDgo9cq777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xP19Tlx0q.RzOS9NSJ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Jeptlc0O9S89k6gpm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2.9NDdq0awgENrsag0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TYgZfoEeREJ7SzWlp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CU6BnzzEaxHyR2P7sR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hPMlS9IkmDLlZJ4Idk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LyPsgjVEi2TSbCO3u1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op3NQH50uuDgmzRYEQ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Wp4IluEmyF2WAC0hU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XdAeC0e0yZM9FqXyqi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OPfAs1fkegZ1XWEMJB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K2Bpy5HEOLkOGrK63h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h1Ov1JkGoiFAKm3dl6Q"/>
</p:tagLst>
</file>

<file path=ppt/theme/theme1.xml><?xml version="1.0" encoding="utf-8"?>
<a:theme xmlns:a="http://schemas.openxmlformats.org/drawingml/2006/main" name="www.2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05</Words>
  <Application>Microsoft Office PowerPoint</Application>
  <PresentationFormat>全屏显示(16:9)</PresentationFormat>
  <Paragraphs>327</Paragraphs>
  <Slides>21</Slides>
  <Notes>21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4" baseType="lpstr">
      <vt:lpstr>Arial Unicode MS</vt:lpstr>
      <vt:lpstr>굴림</vt:lpstr>
      <vt:lpstr>MS UI Gothic</vt:lpstr>
      <vt:lpstr>宋体</vt:lpstr>
      <vt:lpstr>微软雅黑</vt:lpstr>
      <vt:lpstr>Arial</vt:lpstr>
      <vt:lpstr>Broadway</vt:lpstr>
      <vt:lpstr>Calibri</vt:lpstr>
      <vt:lpstr>Impact</vt:lpstr>
      <vt:lpstr>Segoe UI</vt:lpstr>
      <vt:lpstr>Segoe UI Light</vt:lpstr>
      <vt:lpstr>Verdana</vt:lpstr>
      <vt:lpstr>www.2ppt.com</vt:lpstr>
      <vt:lpstr>PowerPoint 演示文稿</vt:lpstr>
      <vt:lpstr>目录页</vt:lpstr>
      <vt:lpstr>过渡页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ppt818.com</dc:title>
  <dc:subject>www.ppt818.com</dc:subject>
  <dc:creator>www.ppt818.com</dc:creator>
  <dc:description>www.ppt818.com-提供资源下载</dc:description>
  <cp:lastModifiedBy>Windows 用户</cp:lastModifiedBy>
  <cp:revision>1</cp:revision>
  <dcterms:created xsi:type="dcterms:W3CDTF">2013-03-08T05:39:00Z</dcterms:created>
  <dcterms:modified xsi:type="dcterms:W3CDTF">2023-01-10T07:1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AACD6602F6F468294273FAF87BED795</vt:lpwstr>
  </property>
  <property fmtid="{D5CDD505-2E9C-101B-9397-08002B2CF9AE}" pid="3" name="KSOProductBuildVer">
    <vt:lpwstr>2052-11.1.0.11194</vt:lpwstr>
  </property>
  <property fmtid="{A09F084E-AD41-489F-8076-AA5BE3082BCA}" pid="100">
    <vt:ui4>5</vt:ui4>
  </property>
  <property fmtid="{64440492-4C8B-11D1-8B70-080036B11A03}" pid="11">
    <vt:lpwstr>www.2ppt.com-爱PPT提供资源下载</vt:lpwstr>
  </property>
</Properties>
</file>